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8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9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0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1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2.xml" ContentType="application/vnd.openxmlformats-officedocument.presentationml.notesSlide+xml"/>
  <Override PartName="/ppt/tags/tag102.xml" ContentType="application/vnd.openxmlformats-officedocument.presentationml.tags+xml"/>
  <Override PartName="/ppt/notesSlides/notesSlide13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4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5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16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7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8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9.xml" ContentType="application/vnd.openxmlformats-officedocument.presentationml.notesSlide+xml"/>
  <Override PartName="/ppt/tags/tag119.xml" ContentType="application/vnd.openxmlformats-officedocument.presentationml.tags+xml"/>
  <Override PartName="/ppt/notesSlides/notesSlide20.xml" ContentType="application/vnd.openxmlformats-officedocument.presentationml.notesSlide+xml"/>
  <Override PartName="/ppt/tags/tag120.xml" ContentType="application/vnd.openxmlformats-officedocument.presentationml.tags+xml"/>
  <Override PartName="/ppt/notesSlides/notesSlide21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22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23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24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25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26.xml" ContentType="application/vnd.openxmlformats-officedocument.presentationml.notesSlide+xml"/>
  <Override PartName="/ppt/tags/tag157.xml" ContentType="application/vnd.openxmlformats-officedocument.presentationml.tags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7" r:id="rId2"/>
    <p:sldId id="287" r:id="rId3"/>
    <p:sldId id="288" r:id="rId4"/>
    <p:sldId id="283" r:id="rId5"/>
    <p:sldId id="289" r:id="rId6"/>
    <p:sldId id="282" r:id="rId7"/>
    <p:sldId id="284" r:id="rId8"/>
    <p:sldId id="285" r:id="rId9"/>
    <p:sldId id="258" r:id="rId10"/>
    <p:sldId id="286" r:id="rId11"/>
    <p:sldId id="275" r:id="rId12"/>
    <p:sldId id="290" r:id="rId13"/>
    <p:sldId id="260" r:id="rId14"/>
    <p:sldId id="267" r:id="rId15"/>
    <p:sldId id="266" r:id="rId16"/>
    <p:sldId id="268" r:id="rId17"/>
    <p:sldId id="269" r:id="rId18"/>
    <p:sldId id="270" r:id="rId19"/>
    <p:sldId id="271" r:id="rId20"/>
    <p:sldId id="272" r:id="rId21"/>
    <p:sldId id="273" r:id="rId22"/>
    <p:sldId id="291" r:id="rId23"/>
    <p:sldId id="276" r:id="rId24"/>
    <p:sldId id="277" r:id="rId25"/>
    <p:sldId id="278" r:id="rId26"/>
    <p:sldId id="279" r:id="rId27"/>
    <p:sldId id="280" r:id="rId28"/>
    <p:sldId id="261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406" autoAdjust="0"/>
    <p:restoredTop sz="93826" autoAdjust="0"/>
  </p:normalViewPr>
  <p:slideViewPr>
    <p:cSldViewPr snapToGrid="0">
      <p:cViewPr varScale="1">
        <p:scale>
          <a:sx n="103" d="100"/>
          <a:sy n="103" d="100"/>
        </p:scale>
        <p:origin x="11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664D0-7EC1-49FF-9A95-754C55378B71}" type="datetimeFigureOut">
              <a:rPr lang="en-GB" smtClean="0"/>
              <a:t>21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C15A6-9BC0-49D4-A039-194017A3F7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429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1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1018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23028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5009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0488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5575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7894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46397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unit tests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1849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0101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64038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output console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96084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85285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AEC1C-EB65-AC64-8829-0AB4880CC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193FE1-1343-89B8-F03E-07A6C0D6B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C827DD-0405-8CEF-F5E6-B755BD05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partition function graph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9C5D6-B960-2BBA-6D55-1D1A947FA5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2932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75B1F1-1416-B02F-30C6-7932F31CF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DE8751-4E07-14FB-1322-CDAF909805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34D204-99F8-1E73-2A86-D3230BC735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 (switch to singular value plots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EA5A7-31A9-D16E-D996-D3E922ED46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40082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0C3ED-842E-069F-124B-E61EF80D2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FEB999-23D4-7D6D-4221-E8D71C806C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3D079B-A072-13BA-C99D-2DF8598FB6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4F257-47AB-41FE-D386-3AE71BE58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05376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D9650-DC27-F0A5-74E9-49D05E7F6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E04922-8DA2-CC79-1EF8-8474AA77E0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675B8D-160E-4B20-3506-EA09CB632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2A854B-5836-BAD9-C206-FEF7D80AA5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74527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74010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7165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3819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84028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26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717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4F657-C0F2-1C03-A07B-315EA77159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A7520A-47D9-639E-224D-13ACC69DE7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70D8EA-53CF-16FF-44F6-59329FD01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95911-5623-4E97-8134-F5472C4BE446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D2BD8-8CF4-D55A-F8F2-93BAB6B02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85832-1E97-204B-F72E-343E2280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72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526E-7C4B-6A53-A8D6-0330E4BBD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249F37-3D87-020B-4557-7C5DF8780D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E8D29-45A6-B1F5-78E4-80C0FFD5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20C17-6E44-4F14-91E0-AD57B94B73ED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46629-43A4-D038-C6BC-D8E6C2D75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E8E49-5D7A-0937-A664-6ED7F57E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815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6D6FB0-8CC5-B666-E2DB-EF2F407280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699195-F58C-1199-F1A6-B92297B2F8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19C51-6A46-6F09-E065-EDD7050FC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0F79C-9794-4289-88D3-0D350BE3B455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FC77FB-B5F8-349F-3C1F-B6733ECDB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6E303-8DF6-7FFA-DDDE-0290B38DF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368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401AB-FE8D-5142-5EF9-3283B4DE0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FC0443-CB06-6856-C170-333DAA578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7652DD-DFD3-E957-FB4D-617B7DE82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CE1949-F406-43EE-90FE-CDA5D96DEA4B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A1CFF-E792-D256-02E8-8D4A25028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BE779-53E7-EC8E-412A-CF64A299F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666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5FDE9-9C4B-A5BC-68F6-DB308C811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5C99AE-A834-2B1D-BEC6-B32ADD703D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3616EA-F3DA-06DE-9992-B839CCD9D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A93CE-FB94-4C53-BA70-C1E4C1C74057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963674-4987-379C-519B-0FFCFE6BE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1A7A8-D1D6-A5A9-C1D6-30EDB3B08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875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28E16-A670-C400-B0B7-452C9212C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331F0E-BFA3-EDA4-559E-24CBA5119C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46523A-69E2-A467-5A46-10A95FC78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9412A-BD9A-3C54-F1C8-3A9701A26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A140F4-E03F-4D58-AE0A-F2F7669B80AE}" type="datetime1">
              <a:rPr lang="en-GB" smtClean="0"/>
              <a:t>21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978819-85F2-DA6B-5E00-706E72A41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2814C-FDF6-88E0-79B1-C76A58BC1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1108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128DB-CE72-5E11-A0AE-95D9B5C31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36BAD9-98E4-1D69-BCCD-426370B6D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E9728-22DD-C001-243C-BC31D7C25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FBCDD9-B5E5-1C90-069E-B19166CB9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E1F5ED-43F6-7B45-80B1-3E6AE019FE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7C8894-36DC-EDF0-E361-35DD37A48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93470-7373-4CEE-B95B-775A16551E21}" type="datetime1">
              <a:rPr lang="en-GB" smtClean="0"/>
              <a:t>21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C48348-EA3C-94C3-06FE-A1C381874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99D432-58F6-4038-AB42-05E1D6BFF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072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1C9A3-8E7E-F1C2-2632-907A35609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3009AB-7817-97A2-3B41-43AAADEFF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D3B49-EC24-45D4-9AC1-51AAF58ABD17}" type="datetime1">
              <a:rPr lang="en-GB" smtClean="0"/>
              <a:t>21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4E285-8F8E-2B28-632D-03E33740C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DC324-B210-4B44-631F-6CB6043C2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532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68CD2C-EE01-734A-A87B-E6702CC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AC62-EECC-4CCA-BE28-07AA1345743A}" type="datetime1">
              <a:rPr lang="en-GB" smtClean="0"/>
              <a:t>21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31A30B-E5C7-CC6C-D63D-08387FDE2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B0A59-96E2-D4ED-A73E-F9C39C472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666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4FB3-9EAA-BFBF-650C-19ABB5094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F9DC2C-D7C3-897D-D2CD-A82DC0B54A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1F351F-8085-CA5F-D838-BA1720252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AAA389-C134-7F72-36A9-501A839F8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6577E-40B8-4EB2-A168-E3BF4228B801}" type="datetime1">
              <a:rPr lang="en-GB" smtClean="0"/>
              <a:t>21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061470-7253-06A1-50D4-17688DC7D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954128-9D9F-24A1-F5D7-A19009CAD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565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B4C39-8537-25DC-C45B-3E5F029E6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299A0B-BC3F-F9A8-11BA-4685B53EF0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562058-688D-3072-AE6B-03D1B24678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990DA-C500-9025-C35A-D051D3A57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9BC658-8736-4CBF-A7AF-A042D15649A7}" type="datetime1">
              <a:rPr lang="en-GB" smtClean="0"/>
              <a:t>21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9486CE-B959-2124-C7C5-10D725103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23DAF-6750-829C-69D9-DB701A364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822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0FB04C-528B-60EB-0FDD-14E8046B20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4038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DE7A98-5C18-5488-BB69-4613580B5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FE5624-03BE-AD5D-2BE8-6F504A948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DA8228-FAE0-460C-D62C-7F88E85F28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2C59AC-A7D5-48F7-B6DC-0E95F710DF25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E9A5C0-9697-AE9B-974E-C78E2D2B1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9205C-17EA-4276-5E59-773AD609D7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980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6.xml"/><Relationship Id="rId18" Type="http://schemas.openxmlformats.org/officeDocument/2006/relationships/oleObject" Target="../embeddings/oleObject7.bin"/><Relationship Id="rId26" Type="http://schemas.openxmlformats.org/officeDocument/2006/relationships/image" Target="../media/image57.png"/><Relationship Id="rId3" Type="http://schemas.openxmlformats.org/officeDocument/2006/relationships/tags" Target="../tags/tag66.xml"/><Relationship Id="rId21" Type="http://schemas.openxmlformats.org/officeDocument/2006/relationships/image" Target="../media/image26.png"/><Relationship Id="rId34" Type="http://schemas.openxmlformats.org/officeDocument/2006/relationships/image" Target="../media/image27.png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notesSlide" Target="../notesSlides/notesSlide10.xml"/><Relationship Id="rId25" Type="http://schemas.openxmlformats.org/officeDocument/2006/relationships/image" Target="../media/image8.png"/><Relationship Id="rId33" Type="http://schemas.openxmlformats.org/officeDocument/2006/relationships/image" Target="../media/image64.png"/><Relationship Id="rId2" Type="http://schemas.openxmlformats.org/officeDocument/2006/relationships/tags" Target="../tags/tag65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1.png"/><Relationship Id="rId29" Type="http://schemas.openxmlformats.org/officeDocument/2006/relationships/image" Target="../media/image60.png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image" Target="../media/image6.png"/><Relationship Id="rId32" Type="http://schemas.openxmlformats.org/officeDocument/2006/relationships/image" Target="../media/image63.png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image" Target="../media/image30.png"/><Relationship Id="rId28" Type="http://schemas.openxmlformats.org/officeDocument/2006/relationships/image" Target="../media/image59.png"/><Relationship Id="rId10" Type="http://schemas.openxmlformats.org/officeDocument/2006/relationships/tags" Target="../tags/tag73.xml"/><Relationship Id="rId19" Type="http://schemas.openxmlformats.org/officeDocument/2006/relationships/image" Target="../media/image1.emf"/><Relationship Id="rId31" Type="http://schemas.openxmlformats.org/officeDocument/2006/relationships/image" Target="../media/image62.png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image" Target="../media/image56.png"/><Relationship Id="rId27" Type="http://schemas.openxmlformats.org/officeDocument/2006/relationships/image" Target="../media/image58.png"/><Relationship Id="rId30" Type="http://schemas.openxmlformats.org/officeDocument/2006/relationships/image" Target="../media/image61.png"/><Relationship Id="rId8" Type="http://schemas.openxmlformats.org/officeDocument/2006/relationships/tags" Target="../tags/tag71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image" Target="../media/image37.png"/><Relationship Id="rId39" Type="http://schemas.openxmlformats.org/officeDocument/2006/relationships/image" Target="../media/image38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71.png"/><Relationship Id="rId42" Type="http://schemas.openxmlformats.org/officeDocument/2006/relationships/image" Target="../media/image77.png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image" Target="../media/image66.png"/><Relationship Id="rId41" Type="http://schemas.openxmlformats.org/officeDocument/2006/relationships/image" Target="../media/image33.png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image" Target="../media/image1.emf"/><Relationship Id="rId32" Type="http://schemas.openxmlformats.org/officeDocument/2006/relationships/image" Target="../media/image69.png"/><Relationship Id="rId37" Type="http://schemas.openxmlformats.org/officeDocument/2006/relationships/image" Target="../media/image74.png"/><Relationship Id="rId40" Type="http://schemas.openxmlformats.org/officeDocument/2006/relationships/image" Target="../media/image76.png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8.png"/><Relationship Id="rId36" Type="http://schemas.openxmlformats.org/officeDocument/2006/relationships/image" Target="../media/image73.png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image" Target="../media/image68.png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notesSlide" Target="../notesSlides/notesSlide11.xml"/><Relationship Id="rId27" Type="http://schemas.openxmlformats.org/officeDocument/2006/relationships/image" Target="../media/image65.png"/><Relationship Id="rId30" Type="http://schemas.openxmlformats.org/officeDocument/2006/relationships/image" Target="../media/image67.png"/><Relationship Id="rId35" Type="http://schemas.openxmlformats.org/officeDocument/2006/relationships/image" Target="../media/image72.png"/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image" Target="../media/image30.png"/><Relationship Id="rId33" Type="http://schemas.openxmlformats.org/officeDocument/2006/relationships/image" Target="../media/image70.png"/><Relationship Id="rId38" Type="http://schemas.openxmlformats.org/officeDocument/2006/relationships/image" Target="../media/image7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8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7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Relationship Id="rId6" Type="http://schemas.openxmlformats.org/officeDocument/2006/relationships/image" Target="../media/image80.PNG"/><Relationship Id="rId11" Type="http://schemas.openxmlformats.org/officeDocument/2006/relationships/image" Target="../media/image85.png"/><Relationship Id="rId5" Type="http://schemas.openxmlformats.org/officeDocument/2006/relationships/image" Target="../media/image1.emf"/><Relationship Id="rId10" Type="http://schemas.openxmlformats.org/officeDocument/2006/relationships/image" Target="../media/image84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8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8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9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5.png"/><Relationship Id="rId3" Type="http://schemas.openxmlformats.org/officeDocument/2006/relationships/tags" Target="../tags/tag109.xml"/><Relationship Id="rId7" Type="http://schemas.openxmlformats.org/officeDocument/2006/relationships/image" Target="../media/image1.emf"/><Relationship Id="rId12" Type="http://schemas.openxmlformats.org/officeDocument/2006/relationships/image" Target="../media/image94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72.png"/><Relationship Id="rId5" Type="http://schemas.openxmlformats.org/officeDocument/2006/relationships/notesSlide" Target="../notesSlides/notesSlide16.xml"/><Relationship Id="rId15" Type="http://schemas.openxmlformats.org/officeDocument/2006/relationships/image" Target="../media/image97.png"/><Relationship Id="rId10" Type="http://schemas.openxmlformats.org/officeDocument/2006/relationships/image" Target="../media/image9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2.PNG"/><Relationship Id="rId14" Type="http://schemas.openxmlformats.org/officeDocument/2006/relationships/image" Target="../media/image9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02.png"/><Relationship Id="rId3" Type="http://schemas.openxmlformats.org/officeDocument/2006/relationships/tags" Target="../tags/tag112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101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notesSlide" Target="../notesSlides/notesSlide17.xml"/><Relationship Id="rId11" Type="http://schemas.openxmlformats.org/officeDocument/2006/relationships/image" Target="../media/image100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99.png"/><Relationship Id="rId4" Type="http://schemas.openxmlformats.org/officeDocument/2006/relationships/tags" Target="../tags/tag113.xml"/><Relationship Id="rId9" Type="http://schemas.openxmlformats.org/officeDocument/2006/relationships/image" Target="../media/image9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4.png"/><Relationship Id="rId12" Type="http://schemas.openxmlformats.org/officeDocument/2006/relationships/image" Target="../media/image107.sv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1.emf"/><Relationship Id="rId11" Type="http://schemas.openxmlformats.org/officeDocument/2006/relationships/image" Target="../media/image106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05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10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18.xml"/><Relationship Id="rId7" Type="http://schemas.openxmlformats.org/officeDocument/2006/relationships/image" Target="../media/image1.emf"/><Relationship Id="rId12" Type="http://schemas.openxmlformats.org/officeDocument/2006/relationships/image" Target="../media/image111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10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10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1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6" Type="http://schemas.openxmlformats.org/officeDocument/2006/relationships/image" Target="../media/image1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1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13" Type="http://schemas.openxmlformats.org/officeDocument/2006/relationships/image" Target="../media/image117.png"/><Relationship Id="rId3" Type="http://schemas.openxmlformats.org/officeDocument/2006/relationships/tags" Target="../tags/tag12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16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image" Target="../media/image20.png"/><Relationship Id="rId5" Type="http://schemas.openxmlformats.org/officeDocument/2006/relationships/tags" Target="../tags/tag125.xml"/><Relationship Id="rId15" Type="http://schemas.openxmlformats.org/officeDocument/2006/relationships/image" Target="../media/image119.png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1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image" Target="../media/image1.emf"/><Relationship Id="rId26" Type="http://schemas.openxmlformats.org/officeDocument/2006/relationships/image" Target="../media/image125.png"/><Relationship Id="rId3" Type="http://schemas.openxmlformats.org/officeDocument/2006/relationships/tags" Target="../tags/tag129.xml"/><Relationship Id="rId21" Type="http://schemas.openxmlformats.org/officeDocument/2006/relationships/image" Target="../media/image51.png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oleObject" Target="../embeddings/oleObject11.bin"/><Relationship Id="rId25" Type="http://schemas.openxmlformats.org/officeDocument/2006/relationships/image" Target="../media/image124.png"/><Relationship Id="rId2" Type="http://schemas.openxmlformats.org/officeDocument/2006/relationships/tags" Target="../tags/tag128.xml"/><Relationship Id="rId16" Type="http://schemas.openxmlformats.org/officeDocument/2006/relationships/notesSlide" Target="../notesSlides/notesSlide23.xml"/><Relationship Id="rId20" Type="http://schemas.openxmlformats.org/officeDocument/2006/relationships/image" Target="../media/image121.png"/><Relationship Id="rId29" Type="http://schemas.openxmlformats.org/officeDocument/2006/relationships/image" Target="../media/image128.png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image" Target="../media/image123.png"/><Relationship Id="rId5" Type="http://schemas.openxmlformats.org/officeDocument/2006/relationships/tags" Target="../tags/tag131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4.png"/><Relationship Id="rId28" Type="http://schemas.openxmlformats.org/officeDocument/2006/relationships/image" Target="../media/image127.png"/><Relationship Id="rId10" Type="http://schemas.openxmlformats.org/officeDocument/2006/relationships/tags" Target="../tags/tag136.xml"/><Relationship Id="rId19" Type="http://schemas.openxmlformats.org/officeDocument/2006/relationships/image" Target="../media/image120.png"/><Relationship Id="rId31" Type="http://schemas.openxmlformats.org/officeDocument/2006/relationships/image" Target="../media/image130.png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image" Target="../media/image122.png"/><Relationship Id="rId27" Type="http://schemas.openxmlformats.org/officeDocument/2006/relationships/image" Target="../media/image126.png"/><Relationship Id="rId30" Type="http://schemas.openxmlformats.org/officeDocument/2006/relationships/image" Target="../media/image12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32.png"/><Relationship Id="rId3" Type="http://schemas.openxmlformats.org/officeDocument/2006/relationships/tags" Target="../tags/tag143.xml"/><Relationship Id="rId7" Type="http://schemas.openxmlformats.org/officeDocument/2006/relationships/notesSlide" Target="../notesSlides/notesSlide24.xml"/><Relationship Id="rId12" Type="http://schemas.openxmlformats.org/officeDocument/2006/relationships/image" Target="../media/image131.pn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4.png"/><Relationship Id="rId5" Type="http://schemas.openxmlformats.org/officeDocument/2006/relationships/tags" Target="../tags/tag145.xml"/><Relationship Id="rId10" Type="http://schemas.openxmlformats.org/officeDocument/2006/relationships/image" Target="../media/image70.png"/><Relationship Id="rId4" Type="http://schemas.openxmlformats.org/officeDocument/2006/relationships/tags" Target="../tags/tag144.xml"/><Relationship Id="rId9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5.xml"/><Relationship Id="rId13" Type="http://schemas.openxmlformats.org/officeDocument/2006/relationships/image" Target="../media/image33.png"/><Relationship Id="rId3" Type="http://schemas.openxmlformats.org/officeDocument/2006/relationships/tags" Target="../tags/tag148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33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image" Target="../media/image17.png"/><Relationship Id="rId5" Type="http://schemas.openxmlformats.org/officeDocument/2006/relationships/tags" Target="../tags/tag150.xml"/><Relationship Id="rId10" Type="http://schemas.openxmlformats.org/officeDocument/2006/relationships/image" Target="../media/image1.emf"/><Relationship Id="rId4" Type="http://schemas.openxmlformats.org/officeDocument/2006/relationships/tags" Target="../tags/tag149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0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1.png"/><Relationship Id="rId3" Type="http://schemas.openxmlformats.org/officeDocument/2006/relationships/tags" Target="../tags/tag154.xml"/><Relationship Id="rId7" Type="http://schemas.openxmlformats.org/officeDocument/2006/relationships/notesSlide" Target="../notesSlides/notesSlide26.xml"/><Relationship Id="rId12" Type="http://schemas.openxmlformats.org/officeDocument/2006/relationships/image" Target="../media/image14.png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22.png"/><Relationship Id="rId5" Type="http://schemas.openxmlformats.org/officeDocument/2006/relationships/tags" Target="../tags/tag156.xml"/><Relationship Id="rId15" Type="http://schemas.openxmlformats.org/officeDocument/2006/relationships/image" Target="../media/image120.png"/><Relationship Id="rId10" Type="http://schemas.openxmlformats.org/officeDocument/2006/relationships/image" Target="../media/image31.png"/><Relationship Id="rId4" Type="http://schemas.openxmlformats.org/officeDocument/2006/relationships/tags" Target="../tags/tag155.xml"/><Relationship Id="rId9" Type="http://schemas.openxmlformats.org/officeDocument/2006/relationships/image" Target="../media/image1.emf"/><Relationship Id="rId14" Type="http://schemas.openxmlformats.org/officeDocument/2006/relationships/image" Target="../media/image2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hyperlink" Target="https://doi.org/10.1103/PhysRevB.102.035147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7.xml"/><Relationship Id="rId6" Type="http://schemas.openxmlformats.org/officeDocument/2006/relationships/hyperlink" Target="https://doi.org/10.1103/PhysRevX.8.031082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13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1.png"/><Relationship Id="rId5" Type="http://schemas.openxmlformats.org/officeDocument/2006/relationships/tags" Target="../tags/tag9.xml"/><Relationship Id="rId15" Type="http://schemas.openxmlformats.org/officeDocument/2006/relationships/image" Target="../media/image15.png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.emf"/><Relationship Id="rId17" Type="http://schemas.openxmlformats.org/officeDocument/2006/relationships/image" Target="../media/image21.png"/><Relationship Id="rId2" Type="http://schemas.openxmlformats.org/officeDocument/2006/relationships/tags" Target="../tags/tag13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6.xml"/><Relationship Id="rId15" Type="http://schemas.openxmlformats.org/officeDocument/2006/relationships/image" Target="../media/image19.png"/><Relationship Id="rId10" Type="http://schemas.openxmlformats.org/officeDocument/2006/relationships/notesSlide" Target="../notesSlides/notesSlide6.xml"/><Relationship Id="rId19" Type="http://schemas.openxmlformats.org/officeDocument/2006/relationships/image" Target="../media/image23.png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image" Target="../media/image6.png"/><Relationship Id="rId39" Type="http://schemas.openxmlformats.org/officeDocument/2006/relationships/image" Target="../media/image16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31.png"/><Relationship Id="rId42" Type="http://schemas.openxmlformats.org/officeDocument/2006/relationships/image" Target="../media/image38.png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image" Target="../media/image27.png"/><Relationship Id="rId41" Type="http://schemas.openxmlformats.org/officeDocument/2006/relationships/image" Target="../media/image37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1.emf"/><Relationship Id="rId32" Type="http://schemas.openxmlformats.org/officeDocument/2006/relationships/image" Target="../media/image29.png"/><Relationship Id="rId37" Type="http://schemas.openxmlformats.org/officeDocument/2006/relationships/image" Target="../media/image34.png"/><Relationship Id="rId40" Type="http://schemas.openxmlformats.org/officeDocument/2006/relationships/image" Target="../media/image36.pn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26.png"/><Relationship Id="rId36" Type="http://schemas.openxmlformats.org/officeDocument/2006/relationships/image" Target="../media/image33.png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image" Target="../media/image14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notesSlide" Target="../notesSlides/notesSlide7.xml"/><Relationship Id="rId27" Type="http://schemas.openxmlformats.org/officeDocument/2006/relationships/image" Target="../media/image25.png"/><Relationship Id="rId30" Type="http://schemas.openxmlformats.org/officeDocument/2006/relationships/image" Target="../media/image28.png"/><Relationship Id="rId35" Type="http://schemas.openxmlformats.org/officeDocument/2006/relationships/image" Target="../media/image32.png"/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image" Target="../media/image8.png"/><Relationship Id="rId33" Type="http://schemas.openxmlformats.org/officeDocument/2006/relationships/image" Target="../media/image30.png"/><Relationship Id="rId38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image" Target="../media/image17.png"/><Relationship Id="rId26" Type="http://schemas.openxmlformats.org/officeDocument/2006/relationships/image" Target="../media/image6.png"/><Relationship Id="rId3" Type="http://schemas.openxmlformats.org/officeDocument/2006/relationships/tags" Target="../tags/tag42.xml"/><Relationship Id="rId21" Type="http://schemas.openxmlformats.org/officeDocument/2006/relationships/image" Target="../media/image40.png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1.emf"/><Relationship Id="rId25" Type="http://schemas.openxmlformats.org/officeDocument/2006/relationships/image" Target="../media/image43.png"/><Relationship Id="rId2" Type="http://schemas.openxmlformats.org/officeDocument/2006/relationships/tags" Target="../tags/tag41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39.png"/><Relationship Id="rId29" Type="http://schemas.openxmlformats.org/officeDocument/2006/relationships/image" Target="../media/image46.pn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42.png"/><Relationship Id="rId5" Type="http://schemas.openxmlformats.org/officeDocument/2006/relationships/tags" Target="../tags/tag44.xml"/><Relationship Id="rId15" Type="http://schemas.openxmlformats.org/officeDocument/2006/relationships/notesSlide" Target="../notesSlides/notesSlide8.xml"/><Relationship Id="rId23" Type="http://schemas.openxmlformats.org/officeDocument/2006/relationships/image" Target="../media/image31.png"/><Relationship Id="rId28" Type="http://schemas.openxmlformats.org/officeDocument/2006/relationships/image" Target="../media/image45.png"/><Relationship Id="rId10" Type="http://schemas.openxmlformats.org/officeDocument/2006/relationships/tags" Target="../tags/tag49.xml"/><Relationship Id="rId19" Type="http://schemas.openxmlformats.org/officeDocument/2006/relationships/image" Target="../media/image28.png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41.png"/><Relationship Id="rId27" Type="http://schemas.openxmlformats.org/officeDocument/2006/relationships/image" Target="../media/image44.png"/><Relationship Id="rId30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notesSlide" Target="../notesSlides/notesSlide9.xml"/><Relationship Id="rId18" Type="http://schemas.openxmlformats.org/officeDocument/2006/relationships/image" Target="../media/image20.png"/><Relationship Id="rId26" Type="http://schemas.openxmlformats.org/officeDocument/2006/relationships/image" Target="../media/image27.png"/><Relationship Id="rId3" Type="http://schemas.openxmlformats.org/officeDocument/2006/relationships/tags" Target="../tags/tag55.xml"/><Relationship Id="rId21" Type="http://schemas.openxmlformats.org/officeDocument/2006/relationships/image" Target="../media/image39.png"/><Relationship Id="rId7" Type="http://schemas.openxmlformats.org/officeDocument/2006/relationships/tags" Target="../tags/tag59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49.png"/><Relationship Id="rId25" Type="http://schemas.openxmlformats.org/officeDocument/2006/relationships/image" Target="../media/image54.png"/><Relationship Id="rId2" Type="http://schemas.openxmlformats.org/officeDocument/2006/relationships/tags" Target="../tags/tag54.xml"/><Relationship Id="rId16" Type="http://schemas.openxmlformats.org/officeDocument/2006/relationships/image" Target="../media/image48.png"/><Relationship Id="rId20" Type="http://schemas.openxmlformats.org/officeDocument/2006/relationships/image" Target="../media/image51.png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image" Target="../media/image10.PNG"/><Relationship Id="rId5" Type="http://schemas.openxmlformats.org/officeDocument/2006/relationships/tags" Target="../tags/tag57.xml"/><Relationship Id="rId15" Type="http://schemas.openxmlformats.org/officeDocument/2006/relationships/image" Target="../media/image1.emf"/><Relationship Id="rId23" Type="http://schemas.openxmlformats.org/officeDocument/2006/relationships/image" Target="../media/image53.png"/><Relationship Id="rId10" Type="http://schemas.openxmlformats.org/officeDocument/2006/relationships/tags" Target="../tags/tag62.xml"/><Relationship Id="rId19" Type="http://schemas.openxmlformats.org/officeDocument/2006/relationships/image" Target="../media/image50.png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oleObject" Target="../embeddings/oleObject7.bin"/><Relationship Id="rId22" Type="http://schemas.openxmlformats.org/officeDocument/2006/relationships/image" Target="../media/image52.png"/><Relationship Id="rId27" Type="http://schemas.openxmlformats.org/officeDocument/2006/relationships/image" Target="../media/image5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1671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D685EF-9972-9DAE-BA60-6EAB524AE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5" y="2317098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676576" y="0"/>
            <a:ext cx="2515424" cy="3133968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168168" y="6170238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s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14777" y="3228556"/>
            <a:ext cx="4808376" cy="221952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4164" y="204870"/>
            <a:ext cx="10079699" cy="174641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Exponential Tensor Network Renormalization Group (XTRG)</a:t>
            </a:r>
            <a:endParaRPr lang="en-US" sz="4800" noProof="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7C826-D521-915F-5C70-E395018E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  <p:transition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9" imgH="478" progId="TCLayout.ActiveDocument.1">
                  <p:embed/>
                </p:oleObj>
              </mc:Choice>
              <mc:Fallback>
                <p:oleObj name="think-cell Slide" r:id="rId1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1698567" y="574679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17502" y="1550596"/>
            <a:ext cx="1711302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put dat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DF123B-DE9D-5FB0-39B6-ADC1F501B9A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165" y="646121"/>
            <a:ext cx="1306982" cy="364134"/>
          </a:xfrm>
          <a:prstGeom prst="rect">
            <a:avLst/>
          </a:prstGeom>
        </p:spPr>
      </p:pic>
      <p:sp>
        <p:nvSpPr>
          <p:cNvPr id="8" name="Untertitel 2 4 1 1 1">
            <a:extLst>
              <a:ext uri="{FF2B5EF4-FFF2-40B4-BE49-F238E27FC236}">
                <a16:creationId xmlns:a16="http://schemas.microsoft.com/office/drawing/2014/main" id="{4FB636B0-BF88-125B-525B-5CE591E08100}"/>
              </a:ext>
            </a:extLst>
          </p:cNvPr>
          <p:cNvSpPr txBox="1">
            <a:spLocks/>
          </p:cNvSpPr>
          <p:nvPr/>
        </p:nvSpPr>
        <p:spPr>
          <a:xfrm>
            <a:off x="2681675" y="1580953"/>
            <a:ext cx="1602802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 for</a:t>
            </a:r>
            <a:endParaRPr lang="en-US" sz="2000" noProof="0" dirty="0"/>
          </a:p>
        </p:txBody>
      </p:sp>
      <p:pic>
        <p:nvPicPr>
          <p:cNvPr id="9" name="Picture 8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163AF375-2833-30E0-F115-4F67D2BA51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925" y="1424574"/>
            <a:ext cx="2841613" cy="674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030EE5C-D57E-977D-EBF3-D5DB61E6E40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252" y="1569476"/>
            <a:ext cx="1042416" cy="2621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22388A-BCE0-1EC6-D917-79AFA33D8D6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484" y="2569040"/>
            <a:ext cx="658368" cy="262128"/>
          </a:xfrm>
          <a:prstGeom prst="rect">
            <a:avLst/>
          </a:prstGeom>
        </p:spPr>
      </p:pic>
      <p:sp>
        <p:nvSpPr>
          <p:cNvPr id="16" name="Untertitel 2 2 1 2">
            <a:extLst>
              <a:ext uri="{FF2B5EF4-FFF2-40B4-BE49-F238E27FC236}">
                <a16:creationId xmlns:a16="http://schemas.microsoft.com/office/drawing/2014/main" id="{324B6683-3F5E-502B-C677-D92C5F4CCD9D}"/>
              </a:ext>
            </a:extLst>
          </p:cNvPr>
          <p:cNvSpPr txBox="1">
            <a:spLocks/>
          </p:cNvSpPr>
          <p:nvPr/>
        </p:nvSpPr>
        <p:spPr>
          <a:xfrm>
            <a:off x="1579473" y="2374631"/>
            <a:ext cx="1146048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4 2">
            <a:extLst>
              <a:ext uri="{FF2B5EF4-FFF2-40B4-BE49-F238E27FC236}">
                <a16:creationId xmlns:a16="http://schemas.microsoft.com/office/drawing/2014/main" id="{A9B0605F-2A6C-43B3-1B89-3A7E40915880}"/>
              </a:ext>
            </a:extLst>
          </p:cNvPr>
          <p:cNvSpPr txBox="1">
            <a:spLocks/>
          </p:cNvSpPr>
          <p:nvPr/>
        </p:nvSpPr>
        <p:spPr>
          <a:xfrm>
            <a:off x="2681675" y="2293167"/>
            <a:ext cx="5943310" cy="6820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et MPO for              , obtained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pproxima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MPO for the exact square </a:t>
            </a:r>
            <a:endParaRPr lang="en-US" sz="2000" b="1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7832D1A-5465-5A4B-A2DA-AFB17A21F30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425" y="2274926"/>
            <a:ext cx="658368" cy="262128"/>
          </a:xfrm>
          <a:prstGeom prst="rect">
            <a:avLst/>
          </a:prstGeom>
        </p:spPr>
      </p:pic>
      <p:pic>
        <p:nvPicPr>
          <p:cNvPr id="21" name="Picture 20" descr="A diagram of a network&#10;&#10;Description automatically generated">
            <a:extLst>
              <a:ext uri="{FF2B5EF4-FFF2-40B4-BE49-F238E27FC236}">
                <a16:creationId xmlns:a16="http://schemas.microsoft.com/office/drawing/2014/main" id="{D7D3A241-63D6-9786-4FAE-A6424AAD04D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728" y="2981664"/>
            <a:ext cx="2702973" cy="1058507"/>
          </a:xfrm>
          <a:prstGeom prst="rect">
            <a:avLst/>
          </a:prstGeom>
        </p:spPr>
      </p:pic>
      <p:pic>
        <p:nvPicPr>
          <p:cNvPr id="25" name="Picture 24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56D6C5B3-9646-84CB-CCE2-A3FD2E3013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391" y="3194442"/>
            <a:ext cx="2702974" cy="5999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06F9706-5C07-FF40-4049-772F1AD5A66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105" y="3460526"/>
            <a:ext cx="168656" cy="107696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B6409B7F-779D-8CF1-4C1C-68404E10CA4B}"/>
              </a:ext>
            </a:extLst>
          </p:cNvPr>
          <p:cNvSpPr txBox="1">
            <a:spLocks/>
          </p:cNvSpPr>
          <p:nvPr/>
        </p:nvSpPr>
        <p:spPr>
          <a:xfrm>
            <a:off x="1259742" y="4182670"/>
            <a:ext cx="1711302" cy="905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fficiency condi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2">
            <a:extLst>
              <a:ext uri="{FF2B5EF4-FFF2-40B4-BE49-F238E27FC236}">
                <a16:creationId xmlns:a16="http://schemas.microsoft.com/office/drawing/2014/main" id="{CBD8D9B1-BD73-2822-9A87-8757FF72C81A}"/>
              </a:ext>
            </a:extLst>
          </p:cNvPr>
          <p:cNvSpPr txBox="1">
            <a:spLocks/>
          </p:cNvSpPr>
          <p:nvPr/>
        </p:nvSpPr>
        <p:spPr>
          <a:xfrm>
            <a:off x="2688172" y="4232535"/>
            <a:ext cx="8517967" cy="11759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If we keep the exact square MPO the bond dimension grows as                  , with                  for the XY-Model and         # updates. But                              should be enough!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 practice, we allow for exp</a:t>
            </a:r>
            <a:r>
              <a:rPr lang="en-US" sz="2000" dirty="0">
                <a:latin typeface="Bahnschrift SemiCondensed" panose="020B0502040204020203" pitchFamily="34" charset="0"/>
              </a:rPr>
              <a:t>onential growth,                , with a threshold,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CE13179-E1A9-57E2-B70D-2D5CB804A5F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44" y="4284354"/>
            <a:ext cx="963168" cy="2905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4C2A924-CFBA-5713-D7F1-CE65DA7B4F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054" y="4322962"/>
            <a:ext cx="764032" cy="2133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A18E11D-5BD0-0025-3478-53D743FE69E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4651654"/>
            <a:ext cx="398272" cy="11379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5C2DF63-6BA5-4A12-2F7B-9ED2B8EEE45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862" y="4594758"/>
            <a:ext cx="1621536" cy="2275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292B8BE-E5BB-6BE6-C798-3E5A8FAA1D3F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33" y="4975169"/>
            <a:ext cx="822960" cy="17475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7D1EF9B-4DBD-BCCF-4B78-0211366658D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482" y="5706055"/>
            <a:ext cx="552704" cy="219456"/>
          </a:xfrm>
          <a:prstGeom prst="rect">
            <a:avLst/>
          </a:prstGeom>
        </p:spPr>
      </p:pic>
      <p:sp>
        <p:nvSpPr>
          <p:cNvPr id="48" name="Untertitel 2 2 1 1 1 2">
            <a:extLst>
              <a:ext uri="{FF2B5EF4-FFF2-40B4-BE49-F238E27FC236}">
                <a16:creationId xmlns:a16="http://schemas.microsoft.com/office/drawing/2014/main" id="{6D863510-1F41-27D9-9D64-074A533ABFC7}"/>
              </a:ext>
            </a:extLst>
          </p:cNvPr>
          <p:cNvSpPr txBox="1">
            <a:spLocks/>
          </p:cNvSpPr>
          <p:nvPr/>
        </p:nvSpPr>
        <p:spPr>
          <a:xfrm>
            <a:off x="838859" y="5628177"/>
            <a:ext cx="1842816" cy="802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proble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Untertitel 2 4 1 1 2">
            <a:extLst>
              <a:ext uri="{FF2B5EF4-FFF2-40B4-BE49-F238E27FC236}">
                <a16:creationId xmlns:a16="http://schemas.microsoft.com/office/drawing/2014/main" id="{4447338B-F1FA-3991-DC95-984428615279}"/>
              </a:ext>
            </a:extLst>
          </p:cNvPr>
          <p:cNvSpPr txBox="1">
            <a:spLocks/>
          </p:cNvSpPr>
          <p:nvPr/>
        </p:nvSpPr>
        <p:spPr>
          <a:xfrm>
            <a:off x="2688172" y="5670645"/>
            <a:ext cx="9474365" cy="780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 to approximate                                                 with an MPO of bond dim</a:t>
            </a:r>
            <a:r>
              <a:rPr lang="en-US" sz="2000" dirty="0">
                <a:latin typeface="Bahnschrift SemiCondensed" panose="020B0502040204020203" pitchFamily="34" charset="0"/>
              </a:rPr>
              <a:t>ens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       ?</a:t>
            </a:r>
            <a:endParaRPr lang="en-US" sz="2000" noProof="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BBB50B5-3C79-7A82-BA0A-E9CFC571DEB8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4786" y="4980334"/>
            <a:ext cx="1146048" cy="211328"/>
          </a:xfrm>
          <a:prstGeom prst="rect">
            <a:avLst/>
          </a:prstGeom>
        </p:spPr>
      </p:pic>
      <p:pic>
        <p:nvPicPr>
          <p:cNvPr id="53" name="Picture 52" descr="A diagram of a network&#10;&#10;Description automatically generated">
            <a:extLst>
              <a:ext uri="{FF2B5EF4-FFF2-40B4-BE49-F238E27FC236}">
                <a16:creationId xmlns:a16="http://schemas.microsoft.com/office/drawing/2014/main" id="{19B3330B-FC0D-0AD9-9B4B-BDA6EC0BF78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5334269"/>
            <a:ext cx="2719058" cy="106480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55B43AD-B4D0-90B2-F1C2-ABBDA40CB1D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340567"/>
            <a:ext cx="165371" cy="1447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85FCC9C-B5B0-47CF-42A0-7BE545D87574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834915"/>
            <a:ext cx="165371" cy="14470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2628C54-6970-FEB7-72A2-58457DEEDCF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49732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8" grpId="0"/>
      <p:bldP spid="16" grpId="0"/>
      <p:bldP spid="17" grpId="0"/>
      <p:bldP spid="30" grpId="0"/>
      <p:bldP spid="31" grpId="0"/>
      <p:bldP spid="48" grpId="0"/>
      <p:bldP spid="4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-203825" y="622743"/>
            <a:ext cx="11701848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Variational Two-Site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040795" y="1682363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nsatz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4 1 1 1 1">
            <a:extLst>
              <a:ext uri="{FF2B5EF4-FFF2-40B4-BE49-F238E27FC236}">
                <a16:creationId xmlns:a16="http://schemas.microsoft.com/office/drawing/2014/main" id="{AF7FD8E0-900E-C9F1-A163-87B5F5038EF2}"/>
              </a:ext>
            </a:extLst>
          </p:cNvPr>
          <p:cNvSpPr txBox="1">
            <a:spLocks/>
          </p:cNvSpPr>
          <p:nvPr/>
        </p:nvSpPr>
        <p:spPr>
          <a:xfrm>
            <a:off x="2128587" y="1498563"/>
            <a:ext cx="6358291" cy="987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e approximate                by </a:t>
            </a:r>
            <a:r>
              <a:rPr lang="en-US" sz="2000" b="1" dirty="0">
                <a:latin typeface="Bahnschrift SemiCondensed" panose="020B0502040204020203" pitchFamily="34" charset="0"/>
              </a:rPr>
              <a:t>minimiz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ver operators     with appropriately enlarged bond dimen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FA361F-A66F-E477-7BC6-371019E7FFD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159" y="1447007"/>
            <a:ext cx="743409" cy="2959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8EF6E3-97A9-7BBF-C5A0-691AEC3FC09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425" y="1925975"/>
            <a:ext cx="180848" cy="243840"/>
          </a:xfrm>
          <a:prstGeom prst="rect">
            <a:avLst/>
          </a:prstGeom>
        </p:spPr>
      </p:pic>
      <p:sp>
        <p:nvSpPr>
          <p:cNvPr id="33" name="Untertitel 2 4 1 1 1 2">
            <a:extLst>
              <a:ext uri="{FF2B5EF4-FFF2-40B4-BE49-F238E27FC236}">
                <a16:creationId xmlns:a16="http://schemas.microsoft.com/office/drawing/2014/main" id="{2DAF03CF-4E52-908B-2C6C-3BE9BC05C7B3}"/>
              </a:ext>
            </a:extLst>
          </p:cNvPr>
          <p:cNvSpPr txBox="1">
            <a:spLocks/>
          </p:cNvSpPr>
          <p:nvPr/>
        </p:nvSpPr>
        <p:spPr>
          <a:xfrm>
            <a:off x="1043742" y="2610794"/>
            <a:ext cx="9790513" cy="4197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e optimize one pair of tensors                    at a time, as for two-site DMR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inimization                                              </a:t>
            </a:r>
            <a:r>
              <a:rPr lang="en-US" sz="2000" b="1" dirty="0">
                <a:latin typeface="Bahnschrift SemiCondensed" panose="020B0502040204020203" pitchFamily="34" charset="0"/>
              </a:rPr>
              <a:t>formula</a:t>
            </a:r>
            <a:r>
              <a:rPr lang="en-US" sz="2000" dirty="0">
                <a:latin typeface="Bahnschrift SemiCondensed" panose="020B0502040204020203" pitchFamily="34" charset="0"/>
              </a:rPr>
              <a:t> for update of the contraction              !             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Left and right </a:t>
            </a:r>
            <a:r>
              <a:rPr lang="en-US" sz="2000" b="1" dirty="0">
                <a:latin typeface="Bahnschrift SemiCondensed" panose="020B0502040204020203" pitchFamily="34" charset="0"/>
              </a:rPr>
              <a:t>environments 	   </a:t>
            </a:r>
            <a:r>
              <a:rPr lang="en-US" sz="2000" dirty="0">
                <a:latin typeface="Bahnschrift SemiCondensed" panose="020B0502040204020203" pitchFamily="34" charset="0"/>
              </a:rPr>
              <a:t>need to be computed iteratively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Do an SVD to separate       from          while keeping MPO </a:t>
            </a:r>
            <a:r>
              <a:rPr lang="en-US" sz="2000" b="1" dirty="0">
                <a:latin typeface="Bahnschrift SemiCondensed" panose="020B0502040204020203" pitchFamily="34" charset="0"/>
              </a:rPr>
              <a:t>site-canonic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Proceed with sites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latin typeface="Bahnschrift SemiCondensed" panose="020B0502040204020203" pitchFamily="34" charset="0"/>
              </a:rPr>
              <a:t>Sweep</a:t>
            </a:r>
            <a:r>
              <a:rPr lang="en-US" sz="2000" dirty="0">
                <a:latin typeface="Bahnschrift SemiCondensed" panose="020B0502040204020203" pitchFamily="34" charset="0"/>
              </a:rPr>
              <a:t> back and forth along the chain until convergence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D05E1DD-8356-DEAE-BF6C-344B7F11BAF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977" y="2647986"/>
            <a:ext cx="1032256" cy="254000"/>
          </a:xfrm>
          <a:prstGeom prst="rect">
            <a:avLst/>
          </a:prstGeom>
        </p:spPr>
      </p:pic>
      <p:pic>
        <p:nvPicPr>
          <p:cNvPr id="36" name="Picture 35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443A1A13-3F17-9180-D84C-1AD4BCA5F06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552" y="1802750"/>
            <a:ext cx="2644432" cy="58696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9A448CD-4278-689B-CF4C-5B17D6FD762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49" y="2419874"/>
            <a:ext cx="219456" cy="21742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C36A37B-9B68-9968-008D-D39E40FCB95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967" y="2408797"/>
            <a:ext cx="471424" cy="23774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A4C19A5-8A00-7EDF-8D7B-DBBD5F0BCF7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5884897"/>
            <a:ext cx="1288288" cy="2540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401B079-0AE3-BCC4-9319-65740024C888}"/>
              </a:ext>
            </a:extLst>
          </p:cNvPr>
          <p:cNvSpPr txBox="1"/>
          <p:nvPr/>
        </p:nvSpPr>
        <p:spPr>
          <a:xfrm>
            <a:off x="8319335" y="1272535"/>
            <a:ext cx="1710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Bahnschrift SemiCondensed" panose="020B0502040204020203" pitchFamily="34" charset="0"/>
              </a:rPr>
              <a:t>bond dimension</a:t>
            </a:r>
            <a:endParaRPr lang="en-DE" sz="1400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011A5673-1359-1D76-43AC-BE6860DD4F0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985" y="2957282"/>
            <a:ext cx="2499360" cy="45516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09DE6CF-B518-1841-5526-745220DF9DC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2836" y="3083430"/>
            <a:ext cx="701033" cy="227836"/>
          </a:xfrm>
          <a:prstGeom prst="rect">
            <a:avLst/>
          </a:prstGeom>
        </p:spPr>
      </p:pic>
      <p:pic>
        <p:nvPicPr>
          <p:cNvPr id="79" name="Picture 78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DE2D3A7F-3CCB-FBA6-46A5-A4D02BDE78A8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400" y="3436799"/>
            <a:ext cx="5105993" cy="153440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2784464D-7E31-B853-D908-60FAD89095B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841" y="5107371"/>
            <a:ext cx="694944" cy="219456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9BBEFA92-2631-23E8-2D73-E113F6303EBA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149" y="4034039"/>
            <a:ext cx="1063387" cy="249332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AC6529C-CD9D-F32A-F1EA-FBA06948680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963" y="5506021"/>
            <a:ext cx="219456" cy="21742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8CD3253C-0D42-B5D9-0FE5-DC3DD4A438BC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313" y="5495861"/>
            <a:ext cx="471424" cy="237744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471AF999-3177-91C9-A7F3-15F2A1D0666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4674126"/>
            <a:ext cx="455672" cy="208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2F0A211-15C1-346E-2557-0EC241F82B3E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781" y="4725587"/>
            <a:ext cx="457619" cy="227836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47AEC2C6-1761-FF71-D923-C46A2B595237}"/>
              </a:ext>
            </a:extLst>
          </p:cNvPr>
          <p:cNvSpPr/>
          <p:nvPr/>
        </p:nvSpPr>
        <p:spPr>
          <a:xfrm>
            <a:off x="4337257" y="460668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2930A20-03AB-2C95-EBA8-919B22615367}"/>
              </a:ext>
            </a:extLst>
          </p:cNvPr>
          <p:cNvSpPr/>
          <p:nvPr/>
        </p:nvSpPr>
        <p:spPr>
          <a:xfrm>
            <a:off x="4437428" y="469958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5866645-38D9-A736-72ED-98EAED20CF48}"/>
              </a:ext>
            </a:extLst>
          </p:cNvPr>
          <p:cNvSpPr/>
          <p:nvPr/>
        </p:nvSpPr>
        <p:spPr>
          <a:xfrm>
            <a:off x="4457339" y="450232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1BFD66E2-1495-A3DB-9F1F-BE03CACDC7C5}"/>
              </a:ext>
            </a:extLst>
          </p:cNvPr>
          <p:cNvSpPr/>
          <p:nvPr/>
        </p:nvSpPr>
        <p:spPr>
          <a:xfrm>
            <a:off x="4971480" y="4498088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BEB915C-75D8-6FF2-F373-8881FDF8B4E5}"/>
              </a:ext>
            </a:extLst>
          </p:cNvPr>
          <p:cNvSpPr/>
          <p:nvPr/>
        </p:nvSpPr>
        <p:spPr>
          <a:xfrm>
            <a:off x="4971480" y="469259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440ADB0-9135-7E61-31E4-05C4884E894B}"/>
              </a:ext>
            </a:extLst>
          </p:cNvPr>
          <p:cNvSpPr/>
          <p:nvPr/>
        </p:nvSpPr>
        <p:spPr>
          <a:xfrm>
            <a:off x="5055454" y="4599347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BAEC965-E84A-D48B-2CD3-5999152DC132}"/>
              </a:ext>
            </a:extLst>
          </p:cNvPr>
          <p:cNvSpPr/>
          <p:nvPr/>
        </p:nvSpPr>
        <p:spPr>
          <a:xfrm>
            <a:off x="7217025" y="458041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15DE2F56-CE65-803D-FE89-88D362A40259}"/>
              </a:ext>
            </a:extLst>
          </p:cNvPr>
          <p:cNvSpPr/>
          <p:nvPr/>
        </p:nvSpPr>
        <p:spPr>
          <a:xfrm>
            <a:off x="7332672" y="467545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818175D-4A40-8B2E-82EE-7109F4896971}"/>
              </a:ext>
            </a:extLst>
          </p:cNvPr>
          <p:cNvSpPr/>
          <p:nvPr/>
        </p:nvSpPr>
        <p:spPr>
          <a:xfrm>
            <a:off x="7332672" y="4485004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5E054D99-F395-2505-31DD-50D361E7AFD3}"/>
              </a:ext>
            </a:extLst>
          </p:cNvPr>
          <p:cNvSpPr/>
          <p:nvPr/>
        </p:nvSpPr>
        <p:spPr>
          <a:xfrm>
            <a:off x="7844431" y="448656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AFB167A-0D20-5D72-C3C5-8199863A8DA9}"/>
              </a:ext>
            </a:extLst>
          </p:cNvPr>
          <p:cNvSpPr/>
          <p:nvPr/>
        </p:nvSpPr>
        <p:spPr>
          <a:xfrm>
            <a:off x="7844431" y="467743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A7F5ED7E-66A7-74A6-E112-8575A094FCFB}"/>
              </a:ext>
            </a:extLst>
          </p:cNvPr>
          <p:cNvSpPr/>
          <p:nvPr/>
        </p:nvSpPr>
        <p:spPr>
          <a:xfrm>
            <a:off x="7935222" y="458930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8217CF6-4250-796F-AAFF-85907BF15600}"/>
              </a:ext>
            </a:extLst>
          </p:cNvPr>
          <p:cNvSpPr/>
          <p:nvPr/>
        </p:nvSpPr>
        <p:spPr>
          <a:xfrm>
            <a:off x="8958705" y="408092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0BCD408-E24C-569A-EED0-1EC994574934}"/>
              </a:ext>
            </a:extLst>
          </p:cNvPr>
          <p:cNvSpPr txBox="1"/>
          <p:nvPr/>
        </p:nvSpPr>
        <p:spPr>
          <a:xfrm>
            <a:off x="9042679" y="3947014"/>
            <a:ext cx="135429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500" dirty="0">
                <a:latin typeface="Bahnschrift SemiCondensed" panose="020B0502040204020203" pitchFamily="34" charset="0"/>
              </a:rPr>
              <a:t>= open leg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FFA6291-EB0F-E4CD-82AE-2DD42BFE027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3FA09834-CA8D-51D8-2D4C-5BF4546E83CA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390" y="1466059"/>
            <a:ext cx="1600000" cy="33219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B14A0DFF-FF20-D1DE-C8D7-349C643EA0F1}"/>
              </a:ext>
            </a:extLst>
          </p:cNvPr>
          <p:cNvSpPr/>
          <p:nvPr/>
        </p:nvSpPr>
        <p:spPr>
          <a:xfrm rot="5400000">
            <a:off x="9645458" y="1718015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\documentclass{article}&#10;\usepackage{amsmath, amsfonts, amssymb, xcolor}&#10;\pagestyle{empty}&#10;\fontfamily{BahnschriftSemiCondensed}&#10;&#10;\begin{document}&#10;&#10;$&#10;=\min\{D_{n-1} \cdot \alpha, D_{\max}\}&#10;$&#10;&#10;\end{document}" title="IguanaTex Bitmap Display">
            <a:extLst>
              <a:ext uri="{FF2B5EF4-FFF2-40B4-BE49-F238E27FC236}">
                <a16:creationId xmlns:a16="http://schemas.microsoft.com/office/drawing/2014/main" id="{CE413C1A-58C4-B694-FAA2-D871799295D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670" y="1329389"/>
            <a:ext cx="2023652" cy="20044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8B3BE79-DCB3-7D66-E21E-35531572163D}"/>
              </a:ext>
            </a:extLst>
          </p:cNvPr>
          <p:cNvSpPr txBox="1"/>
          <p:nvPr/>
        </p:nvSpPr>
        <p:spPr>
          <a:xfrm>
            <a:off x="9354335" y="806776"/>
            <a:ext cx="1534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ling factor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5" name="Picture 4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FC572533-9CEC-3917-5A07-6543142D7BE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1577">
            <a:off x="10606265" y="1146021"/>
            <a:ext cx="225524" cy="132571"/>
          </a:xfrm>
          <a:prstGeom prst="rect">
            <a:avLst/>
          </a:prstGeom>
        </p:spPr>
      </p:pic>
      <p:pic>
        <p:nvPicPr>
          <p:cNvPr id="56" name="Picture 55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40EAD52C-57AA-C23C-79D4-B0282E39634D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419" y="3226467"/>
            <a:ext cx="53854" cy="62540"/>
          </a:xfrm>
          <a:prstGeom prst="rect">
            <a:avLst/>
          </a:prstGeom>
        </p:spPr>
      </p:pic>
      <p:pic>
        <p:nvPicPr>
          <p:cNvPr id="57" name="Picture 56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C257A4DF-F227-09C9-2D8E-EF104842209C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3227961"/>
            <a:ext cx="53854" cy="6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2553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33" grpId="0"/>
      <p:bldP spid="52" grpId="0"/>
      <p:bldP spid="104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/>
      <p:bldP spid="20" grpId="0" animBg="1"/>
      <p:bldP spid="4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B5C59-29C6-4257-1222-472AC1AEF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1CCC98-CA68-490A-6BCE-4E1C654179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E087E-8D0B-6C61-15E2-321235AC0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D927216C-1795-1FD6-1409-BA6DDCDD7140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mplementation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17F9E6B6-9A19-B3B4-1A92-618DE5EB5F8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797570"/>
      </p:ext>
    </p:extLst>
  </p:cSld>
  <p:clrMapOvr>
    <a:masterClrMapping/>
  </p:clrMapOvr>
  <p:transition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732520" y="6403919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19C2C2C7-6AF5-6909-2F7B-4DE73256B610}"/>
              </a:ext>
            </a:extLst>
          </p:cNvPr>
          <p:cNvSpPr txBox="1">
            <a:spLocks/>
          </p:cNvSpPr>
          <p:nvPr/>
        </p:nvSpPr>
        <p:spPr>
          <a:xfrm>
            <a:off x="476249" y="2293555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 forms of MPO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6DA370DD-2C48-FA9A-9B4E-79087A15B58D}"/>
              </a:ext>
            </a:extLst>
          </p:cNvPr>
          <p:cNvSpPr txBox="1">
            <a:spLocks/>
          </p:cNvSpPr>
          <p:nvPr/>
        </p:nvSpPr>
        <p:spPr>
          <a:xfrm>
            <a:off x="2447584" y="1424730"/>
            <a:ext cx="6228908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for MPSs,</a:t>
            </a:r>
            <a:r>
              <a:rPr lang="en-US" sz="2000" noProof="0" dirty="0">
                <a:latin typeface="Bahnschrift SemiCondensed" panose="020B0502040204020203" pitchFamily="34" charset="0"/>
              </a:rPr>
              <a:t> MPOs can be brought into canonical forms</a:t>
            </a:r>
            <a:endParaRPr lang="en-US" sz="20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10653BBC-AC72-9D8C-550A-09A9496D0892}"/>
              </a:ext>
            </a:extLst>
          </p:cNvPr>
          <p:cNvSpPr txBox="1">
            <a:spLocks/>
          </p:cNvSpPr>
          <p:nvPr/>
        </p:nvSpPr>
        <p:spPr>
          <a:xfrm>
            <a:off x="2454944" y="3533923"/>
            <a:ext cx="5076126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above MPO is said to be in </a:t>
            </a:r>
            <a:r>
              <a:rPr lang="en-US" sz="2000" b="1" dirty="0">
                <a:latin typeface="Bahnschrift SemiCondensed" panose="020B0502040204020203" pitchFamily="34" charset="0"/>
              </a:rPr>
              <a:t>left-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</a:t>
            </a:r>
            <a:r>
              <a:rPr lang="en-US" sz="2000" noProof="0" dirty="0">
                <a:latin typeface="Bahnschrift SemiCondensed" panose="020B0502040204020203" pitchFamily="34" charset="0"/>
              </a:rPr>
              <a:t>form iff the single-site tensors                         </a:t>
            </a:r>
            <a:r>
              <a:rPr lang="en-US" sz="2000" dirty="0">
                <a:latin typeface="Bahnschrift SemiCondensed" panose="020B0502040204020203" pitchFamily="34" charset="0"/>
              </a:rPr>
              <a:t>have the following isometry property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92C61C-B3B0-658E-12A9-FD296DF158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830" y="3896428"/>
            <a:ext cx="1393952" cy="219456"/>
          </a:xfrm>
          <a:prstGeom prst="rect">
            <a:avLst/>
          </a:prstGeom>
        </p:spPr>
      </p:pic>
      <p:sp>
        <p:nvSpPr>
          <p:cNvPr id="19" name="Untertitel 2 6">
            <a:extLst>
              <a:ext uri="{FF2B5EF4-FFF2-40B4-BE49-F238E27FC236}">
                <a16:creationId xmlns:a16="http://schemas.microsoft.com/office/drawing/2014/main" id="{D6EC9DD3-CA7F-6525-9AD2-D4CAD197E54D}"/>
              </a:ext>
            </a:extLst>
          </p:cNvPr>
          <p:cNvSpPr txBox="1">
            <a:spLocks/>
          </p:cNvSpPr>
          <p:nvPr/>
        </p:nvSpPr>
        <p:spPr>
          <a:xfrm>
            <a:off x="2454944" y="4835514"/>
            <a:ext cx="9005535" cy="866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imilarly, there exist left- and site-canonical forms of MPOs. Like for MPSs, a given MPO can be transformed into a canonical form, e.g., by successive QR or SVD decompositions.</a:t>
            </a:r>
            <a:endParaRPr lang="en-US" sz="2000" noProof="0" dirty="0"/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D2F13A4B-98D6-4CEF-7253-DBC72C627D8F}"/>
              </a:ext>
            </a:extLst>
          </p:cNvPr>
          <p:cNvSpPr txBox="1">
            <a:spLocks/>
          </p:cNvSpPr>
          <p:nvPr/>
        </p:nvSpPr>
        <p:spPr>
          <a:xfrm>
            <a:off x="476250" y="5528361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nection with MPS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Untertitel 2 6">
            <a:extLst>
              <a:ext uri="{FF2B5EF4-FFF2-40B4-BE49-F238E27FC236}">
                <a16:creationId xmlns:a16="http://schemas.microsoft.com/office/drawing/2014/main" id="{AA5B3724-8240-50C6-6990-F8237AE9849A}"/>
              </a:ext>
            </a:extLst>
          </p:cNvPr>
          <p:cNvSpPr txBox="1">
            <a:spLocks/>
          </p:cNvSpPr>
          <p:nvPr/>
        </p:nvSpPr>
        <p:spPr>
          <a:xfrm>
            <a:off x="2454944" y="5751117"/>
            <a:ext cx="9468832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s in canonical form are structured such that merging physical legs yields canonical MPS!</a:t>
            </a:r>
            <a:endParaRPr lang="en-US" sz="2000" noProof="0" dirty="0"/>
          </a:p>
        </p:txBody>
      </p:sp>
      <p:pic>
        <p:nvPicPr>
          <p:cNvPr id="12" name="Picture 11" descr="A diagram of a diagram&#10;&#10;AI-generated content may be incorrect.">
            <a:extLst>
              <a:ext uri="{FF2B5EF4-FFF2-40B4-BE49-F238E27FC236}">
                <a16:creationId xmlns:a16="http://schemas.microsoft.com/office/drawing/2014/main" id="{B422DEB5-8633-42BE-C3C6-A058FE8326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5753" y="2022486"/>
            <a:ext cx="4016566" cy="1178513"/>
          </a:xfrm>
          <a:prstGeom prst="rect">
            <a:avLst/>
          </a:prstGeom>
        </p:spPr>
      </p:pic>
      <p:pic>
        <p:nvPicPr>
          <p:cNvPr id="16" name="Picture 15" descr="A diagram of a mathematical equation&#10;&#10;AI-generated content may be incorrect.">
            <a:extLst>
              <a:ext uri="{FF2B5EF4-FFF2-40B4-BE49-F238E27FC236}">
                <a16:creationId xmlns:a16="http://schemas.microsoft.com/office/drawing/2014/main" id="{E0E6B76F-F5D5-49E0-B5F1-7190FFCB78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831" y="2840971"/>
            <a:ext cx="2444222" cy="1820165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855304B-6E06-7CB1-FC0B-16FA1E644E6D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4B3436-89FF-CC7A-1F6D-42567C499428}"/>
              </a:ext>
            </a:extLst>
          </p:cNvPr>
          <p:cNvSpPr txBox="1"/>
          <p:nvPr/>
        </p:nvSpPr>
        <p:spPr>
          <a:xfrm>
            <a:off x="7953527" y="1395564"/>
            <a:ext cx="4366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/>
      <p:bldP spid="9" grpId="0"/>
      <p:bldP spid="14" grpId="0"/>
      <p:bldP spid="19" grpId="0"/>
      <p:bldP spid="20" grpId="0"/>
      <p:bldP spid="21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051E3-E441-470C-D268-41CF437FE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01AC1B-7D75-F78A-E618-6E5FFADFD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302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53C7083-58CD-7A1B-A4A9-7619FEB621D9}"/>
              </a:ext>
            </a:extLst>
          </p:cNvPr>
          <p:cNvSpPr txBox="1">
            <a:spLocks/>
          </p:cNvSpPr>
          <p:nvPr/>
        </p:nvSpPr>
        <p:spPr>
          <a:xfrm>
            <a:off x="1018598" y="649489"/>
            <a:ext cx="3291840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canonical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D6AF529A-DF51-F373-8D6E-6359D4E3BCD2}"/>
              </a:ext>
            </a:extLst>
          </p:cNvPr>
          <p:cNvSpPr txBox="1">
            <a:spLocks/>
          </p:cNvSpPr>
          <p:nvPr/>
        </p:nvSpPr>
        <p:spPr>
          <a:xfrm>
            <a:off x="299515" y="154422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8061916F-676D-E8CE-C0C5-5AD4A1A7C0A6}"/>
              </a:ext>
            </a:extLst>
          </p:cNvPr>
          <p:cNvSpPr txBox="1">
            <a:spLocks/>
          </p:cNvSpPr>
          <p:nvPr/>
        </p:nvSpPr>
        <p:spPr>
          <a:xfrm>
            <a:off x="1784762" y="1328956"/>
            <a:ext cx="3111122" cy="27468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Brings an MPO in</a:t>
            </a:r>
            <a:r>
              <a:rPr lang="en-GB" sz="1800" dirty="0">
                <a:latin typeface="Bahnschrift SemiCondensed" panose="020B0502040204020203" pitchFamily="34" charset="0"/>
              </a:rPr>
              <a:t>to left-canonical form by treating it as an MPS (with merged physical legs).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Similarly, one could define the update reversely using</a:t>
            </a:r>
          </a:p>
          <a:p>
            <a:pPr marL="0" indent="0">
              <a:buNone/>
            </a:pPr>
            <a:endParaRPr lang="en-GB" sz="18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For completeness we also implemented</a:t>
            </a:r>
          </a:p>
          <a:p>
            <a:pPr marL="0" indent="0">
              <a:buNone/>
            </a:pPr>
            <a:endParaRPr lang="en-GB" sz="2000" dirty="0">
              <a:latin typeface="Bahnschrift SemiCondensed" panose="020B0502040204020203" pitchFamily="34" charset="0"/>
            </a:endParaRP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DA5FFCC4-F79B-A896-6CA9-6D8009132207}"/>
              </a:ext>
            </a:extLst>
          </p:cNvPr>
          <p:cNvSpPr txBox="1">
            <a:spLocks/>
          </p:cNvSpPr>
          <p:nvPr/>
        </p:nvSpPr>
        <p:spPr>
          <a:xfrm>
            <a:off x="1802511" y="4074934"/>
            <a:ext cx="3111122" cy="930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Canonical forms simplify the minimization equations during the XTRG update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1FAEDB0E-0307-FE53-6C19-58D2972F9370}"/>
              </a:ext>
            </a:extLst>
          </p:cNvPr>
          <p:cNvSpPr txBox="1">
            <a:spLocks/>
          </p:cNvSpPr>
          <p:nvPr/>
        </p:nvSpPr>
        <p:spPr>
          <a:xfrm>
            <a:off x="423778" y="4163055"/>
            <a:ext cx="1157145" cy="7538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831CFA-F9AD-D7EE-FB60-5F2D528BDE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058" y="3034206"/>
            <a:ext cx="1639184" cy="2230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AFF8F8-6547-1DBC-D399-5A9E217B1A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144" y="3720732"/>
            <a:ext cx="1493972" cy="224096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CEE313-EBA5-0913-CD6D-C1219B5E814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5" name="Picture 14" descr="A computer screen with colorful text&#10;&#10;AI-generated content may be incorrect.">
            <a:extLst>
              <a:ext uri="{FF2B5EF4-FFF2-40B4-BE49-F238E27FC236}">
                <a16:creationId xmlns:a16="http://schemas.microsoft.com/office/drawing/2014/main" id="{A507A8C9-9A54-7136-CEC0-C6AF7FAEE7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621" y="180664"/>
            <a:ext cx="7013649" cy="161493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F51B77A-EA66-DA9D-BD78-E9946051F3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8180" y="2091643"/>
            <a:ext cx="7018533" cy="159517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851AE5E-D4E4-65BC-F185-F4BE93E104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9060" y="3925039"/>
            <a:ext cx="6378070" cy="277147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 descr="A computer screen with text&#10;&#10;AI-generated content may be incorrect.">
            <a:extLst>
              <a:ext uri="{FF2B5EF4-FFF2-40B4-BE49-F238E27FC236}">
                <a16:creationId xmlns:a16="http://schemas.microsoft.com/office/drawing/2014/main" id="{C19BE70A-191F-85E8-0BE9-9C4741AC54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05" y="5122688"/>
            <a:ext cx="4895884" cy="153905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3B515EB-FCAE-C4C2-0E4F-A4B2465EA64C}"/>
              </a:ext>
            </a:extLst>
          </p:cNvPr>
          <p:cNvSpPr/>
          <p:nvPr/>
        </p:nvSpPr>
        <p:spPr>
          <a:xfrm>
            <a:off x="47625" y="50563"/>
            <a:ext cx="4743450" cy="4888150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736873"/>
      </p:ext>
    </p:extLst>
  </p:cSld>
  <p:clrMapOvr>
    <a:masterClrMapping/>
  </p:clrMapOvr>
  <p:transition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16B254-AF4B-F86D-56C3-4EE8440D7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649F4A-38C0-3891-E348-84FD256E51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068A6B80-76CB-8ED9-D7A0-CB818637661C}"/>
              </a:ext>
            </a:extLst>
          </p:cNvPr>
          <p:cNvSpPr txBox="1">
            <a:spLocks/>
          </p:cNvSpPr>
          <p:nvPr/>
        </p:nvSpPr>
        <p:spPr>
          <a:xfrm>
            <a:off x="833255" y="67949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C8362894-4BFB-D69A-EB7C-8F255F2776CA}"/>
              </a:ext>
            </a:extLst>
          </p:cNvPr>
          <p:cNvSpPr txBox="1">
            <a:spLocks/>
          </p:cNvSpPr>
          <p:nvPr/>
        </p:nvSpPr>
        <p:spPr>
          <a:xfrm>
            <a:off x="592929" y="148298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59071C9E-3089-2E31-B1B8-540AB49A7BB3}"/>
              </a:ext>
            </a:extLst>
          </p:cNvPr>
          <p:cNvSpPr txBox="1">
            <a:spLocks/>
          </p:cNvSpPr>
          <p:nvPr/>
        </p:nvSpPr>
        <p:spPr>
          <a:xfrm>
            <a:off x="2228154" y="1688201"/>
            <a:ext cx="3821710" cy="47114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dds two operators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7ED8E04-010F-67BF-1D77-6A6B44ACC905}"/>
              </a:ext>
            </a:extLst>
          </p:cNvPr>
          <p:cNvSpPr txBox="1">
            <a:spLocks/>
          </p:cNvSpPr>
          <p:nvPr/>
        </p:nvSpPr>
        <p:spPr>
          <a:xfrm>
            <a:off x="2234901" y="2580206"/>
            <a:ext cx="3840176" cy="471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We use </a:t>
            </a:r>
            <a:r>
              <a:rPr lang="it-IT" sz="1800" dirty="0">
                <a:latin typeface="Bahnschrift SemiCondensed" panose="020B0502040204020203" pitchFamily="34" charset="0"/>
              </a:rPr>
              <a:t>this </a:t>
            </a:r>
            <a:r>
              <a:rPr lang="en-GB" sz="1800" dirty="0">
                <a:latin typeface="Bahnschrift SemiCondensed" panose="020B0502040204020203" pitchFamily="34" charset="0"/>
              </a:rPr>
              <a:t>for linear initialization,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A1B07EE9-D5F0-8E20-94BD-EAA97AE0213C}"/>
              </a:ext>
            </a:extLst>
          </p:cNvPr>
          <p:cNvSpPr txBox="1">
            <a:spLocks/>
          </p:cNvSpPr>
          <p:nvPr/>
        </p:nvSpPr>
        <p:spPr>
          <a:xfrm>
            <a:off x="667358" y="2551480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EA42C26B-F469-4952-00AB-E33087C3EF3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955" y="2928390"/>
            <a:ext cx="2858666" cy="32457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ECE69EC-43E8-1FAF-44FC-071E78E321A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B189EF-F58A-FBD1-1F4C-F77FFA6E74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329"/>
          <a:stretch>
            <a:fillRect/>
          </a:stretch>
        </p:blipFill>
        <p:spPr>
          <a:xfrm>
            <a:off x="158213" y="4100349"/>
            <a:ext cx="6373503" cy="236704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092BCC-D697-BFF0-7C13-61E7CA1376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08164" y="223232"/>
            <a:ext cx="5125623" cy="633560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680FC76-5120-E419-9F8D-5C7230819CED}"/>
              </a:ext>
            </a:extLst>
          </p:cNvPr>
          <p:cNvSpPr/>
          <p:nvPr/>
        </p:nvSpPr>
        <p:spPr>
          <a:xfrm>
            <a:off x="47624" y="50563"/>
            <a:ext cx="6484091" cy="3771629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871560"/>
      </p:ext>
    </p:extLst>
  </p:cSld>
  <p:clrMapOvr>
    <a:masterClrMapping/>
  </p:clrMapOvr>
  <p:transition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79B17B-27C4-C266-A4BF-DDB018BA7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E89517-ED33-E48A-C1EB-C6D888FAAC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8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4FA76DBC-7128-7BC0-1618-83D36BE4399F}"/>
              </a:ext>
            </a:extLst>
          </p:cNvPr>
          <p:cNvSpPr txBox="1">
            <a:spLocks/>
          </p:cNvSpPr>
          <p:nvPr/>
        </p:nvSpPr>
        <p:spPr>
          <a:xfrm>
            <a:off x="236228" y="72979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B2B4ED18-C9EF-EEA8-6B94-BF2B80DC1313}"/>
              </a:ext>
            </a:extLst>
          </p:cNvPr>
          <p:cNvSpPr txBox="1">
            <a:spLocks/>
          </p:cNvSpPr>
          <p:nvPr/>
        </p:nvSpPr>
        <p:spPr>
          <a:xfrm>
            <a:off x="299515" y="1634884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A9262E-E9CB-A4D7-4267-B3E88967465D}"/>
              </a:ext>
            </a:extLst>
          </p:cNvPr>
          <p:cNvSpPr txBox="1">
            <a:spLocks/>
          </p:cNvSpPr>
          <p:nvPr/>
        </p:nvSpPr>
        <p:spPr>
          <a:xfrm>
            <a:off x="1867058" y="1749250"/>
            <a:ext cx="220040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Squares an operator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FBD7AEE-C9D7-16BE-EAB0-7D5FD919F19C}"/>
              </a:ext>
            </a:extLst>
          </p:cNvPr>
          <p:cNvSpPr txBox="1">
            <a:spLocks/>
          </p:cNvSpPr>
          <p:nvPr/>
        </p:nvSpPr>
        <p:spPr>
          <a:xfrm>
            <a:off x="1639563" y="3422675"/>
            <a:ext cx="2781181" cy="15290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Provides an initial guess at each XTRG update to start the compression through variational optimiza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14F9DC45-19D8-3CDB-01F3-1B62C0D041B9}"/>
              </a:ext>
            </a:extLst>
          </p:cNvPr>
          <p:cNvSpPr txBox="1">
            <a:spLocks/>
          </p:cNvSpPr>
          <p:nvPr/>
        </p:nvSpPr>
        <p:spPr>
          <a:xfrm>
            <a:off x="305380" y="3586435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$\text{e}^{- \beta \hat{H}} \rightarrow \text{e}^{- 2 \beta \hat{H}} = (\text{e}^{- \beta \hat{H}})^2$&#10;&#10;&#10;\end{document}" title="IguanaTex Picture Display">
            <a:extLst>
              <a:ext uri="{FF2B5EF4-FFF2-40B4-BE49-F238E27FC236}">
                <a16:creationId xmlns:a16="http://schemas.microsoft.com/office/drawing/2014/main" id="{920D57D6-2901-C549-A579-A9218CD6F24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5" y="2747508"/>
            <a:ext cx="3241684" cy="3664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195009-19F8-7EA5-688F-95641A7111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23619" y="951621"/>
            <a:ext cx="7232153" cy="287060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2EE33E-F1C9-70D3-EC14-62AE08FC36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6228" y="4960833"/>
            <a:ext cx="8808907" cy="168646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A0C7F6C-349C-B529-10AF-71B86485EEE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491767-1BFB-B4A6-B416-A040FFD48E67}"/>
              </a:ext>
            </a:extLst>
          </p:cNvPr>
          <p:cNvSpPr/>
          <p:nvPr/>
        </p:nvSpPr>
        <p:spPr>
          <a:xfrm>
            <a:off x="47625" y="50563"/>
            <a:ext cx="4385039" cy="4649453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836088"/>
      </p:ext>
    </p:extLst>
  </p:cSld>
  <p:clrMapOvr>
    <a:masterClrMapping/>
  </p:clrMapOvr>
  <p:transition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41194-97BB-40D4-4BFA-AD1903276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7C8246-55A8-7105-8227-427136D2A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467E0A4-5ADA-60A0-94D7-9E06FB42E66B}"/>
              </a:ext>
            </a:extLst>
          </p:cNvPr>
          <p:cNvSpPr txBox="1">
            <a:spLocks/>
          </p:cNvSpPr>
          <p:nvPr/>
        </p:nvSpPr>
        <p:spPr>
          <a:xfrm>
            <a:off x="795595" y="664823"/>
            <a:ext cx="2848338" cy="736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updateLeftEnv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70EE8CB6-45F5-BCC9-D376-7D9022F244D5}"/>
              </a:ext>
            </a:extLst>
          </p:cNvPr>
          <p:cNvSpPr txBox="1">
            <a:spLocks/>
          </p:cNvSpPr>
          <p:nvPr/>
        </p:nvSpPr>
        <p:spPr>
          <a:xfrm>
            <a:off x="581518" y="142071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A2AF734-78F0-997E-A01F-65781E597011}"/>
              </a:ext>
            </a:extLst>
          </p:cNvPr>
          <p:cNvSpPr txBox="1">
            <a:spLocks/>
          </p:cNvSpPr>
          <p:nvPr/>
        </p:nvSpPr>
        <p:spPr>
          <a:xfrm>
            <a:off x="2224677" y="1362456"/>
            <a:ext cx="1639098" cy="11357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light modification of                  </a:t>
            </a: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ACAE41C1-F04B-4D58-71AF-F51A7E860A83}"/>
              </a:ext>
            </a:extLst>
          </p:cNvPr>
          <p:cNvSpPr txBox="1">
            <a:spLocks/>
          </p:cNvSpPr>
          <p:nvPr/>
        </p:nvSpPr>
        <p:spPr>
          <a:xfrm>
            <a:off x="1593823" y="5758310"/>
            <a:ext cx="1042139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Get environment tensors              needed in the update of                . All left environments are computed in the beginning of the optimization process, and are then iteratively updated by performing on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	  contraction before the update of the next two sites.</a:t>
            </a: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03BE45C4-0F40-ED9F-DFF9-37D332612E4D}"/>
              </a:ext>
            </a:extLst>
          </p:cNvPr>
          <p:cNvSpPr txBox="1">
            <a:spLocks/>
          </p:cNvSpPr>
          <p:nvPr/>
        </p:nvSpPr>
        <p:spPr>
          <a:xfrm>
            <a:off x="375764" y="5861301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A diagram of a complex diagram&#10;&#10;AI-generated content may be incorrect.">
            <a:extLst>
              <a:ext uri="{FF2B5EF4-FFF2-40B4-BE49-F238E27FC236}">
                <a16:creationId xmlns:a16="http://schemas.microsoft.com/office/drawing/2014/main" id="{54D9ACCD-4822-9BD4-9AA3-9E9BAE90EF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65" y="3958959"/>
            <a:ext cx="2241732" cy="1483068"/>
          </a:xfrm>
          <a:prstGeom prst="rect">
            <a:avLst/>
          </a:prstGeom>
        </p:spPr>
      </p:pic>
      <p:pic>
        <p:nvPicPr>
          <p:cNvPr id="15" name="Picture 14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87050F18-5121-CB08-ED6C-A7C6943BB0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15"/>
          <a:stretch>
            <a:fillRect/>
          </a:stretch>
        </p:blipFill>
        <p:spPr>
          <a:xfrm>
            <a:off x="820760" y="2482686"/>
            <a:ext cx="2721140" cy="14936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9B176D-4145-A272-0FCF-B83777C2BD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373" y="1953829"/>
            <a:ext cx="1022904" cy="255726"/>
          </a:xfrm>
          <a:prstGeom prst="rect">
            <a:avLst/>
          </a:prstGeom>
        </p:spPr>
      </p:pic>
      <p:pic>
        <p:nvPicPr>
          <p:cNvPr id="19" name="Picture 18" descr="\documentclass{article}&#10;\usepackage{amsmath}&#10;\pagestyle{empty}&#10;\begin{document}&#10;&#10;$V_L, V_R$&#10;&#10;&#10;\end{document}" title="IguanaTex Picture Display">
            <a:extLst>
              <a:ext uri="{FF2B5EF4-FFF2-40B4-BE49-F238E27FC236}">
                <a16:creationId xmlns:a16="http://schemas.microsoft.com/office/drawing/2014/main" id="{3F3DF9FD-27F9-3953-55FB-CB49A1AD6D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902" y="5839691"/>
            <a:ext cx="696381" cy="220952"/>
          </a:xfrm>
          <a:prstGeom prst="rect">
            <a:avLst/>
          </a:prstGeom>
        </p:spPr>
      </p:pic>
      <p:pic>
        <p:nvPicPr>
          <p:cNvPr id="22" name="Picture 21" descr="\documentclass{article}&#10;\usepackage{amsmath}&#10;\pagestyle{empty}&#10;\begin{document}&#10;&#10;&#10;$C_l, C_{l + 1&#10;}$&#10;&#10;\end{document}" title="IguanaTex Picture Display">
            <a:extLst>
              <a:ext uri="{FF2B5EF4-FFF2-40B4-BE49-F238E27FC236}">
                <a16:creationId xmlns:a16="http://schemas.microsoft.com/office/drawing/2014/main" id="{B298014E-F23F-EEFD-3D3A-98F2440B434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05" y="5822929"/>
            <a:ext cx="844190" cy="2377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4D1847-224D-9485-FCD8-9E8CA919AFC1}"/>
              </a:ext>
            </a:extLst>
          </p:cNvPr>
          <p:cNvSpPr/>
          <p:nvPr/>
        </p:nvSpPr>
        <p:spPr>
          <a:xfrm>
            <a:off x="47625" y="50563"/>
            <a:ext cx="4385039" cy="5537607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016D38-9BB3-191D-30A5-6A3796C522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16219" y="505352"/>
            <a:ext cx="7167104" cy="141525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F769AD-A02E-E2FA-D0B1-C3E8CDDA234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16219" y="2408093"/>
            <a:ext cx="7200925" cy="281311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7B7643A-D4F4-36C9-8078-AF56C3BC5629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1" name="Picture 20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EEFCCEED-45FA-BC48-F7F8-71DF82C4B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86"/>
          <a:stretch>
            <a:fillRect/>
          </a:stretch>
        </p:blipFill>
        <p:spPr>
          <a:xfrm>
            <a:off x="721244" y="4014172"/>
            <a:ext cx="304174" cy="149360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FC80D0E-0544-0959-63B2-6A146BE6AE0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95487" y="6382599"/>
            <a:ext cx="971686" cy="20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25288"/>
      </p:ext>
    </p:extLst>
  </p:cSld>
  <p:clrMapOvr>
    <a:masterClrMapping/>
  </p:clrMapOvr>
  <p:transition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A9D5A-EAB0-FD5A-E25D-6957EA5CE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270AE3-414D-3FD3-0FC0-D8C255B23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9" imgH="478" progId="TCLayout.ActiveDocument.1">
                  <p:embed/>
                </p:oleObj>
              </mc:Choice>
              <mc:Fallback>
                <p:oleObj name="think-cell Slide" r:id="rId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7076D7AC-51AD-9706-CDE6-EBD1AEAED4FA}"/>
              </a:ext>
            </a:extLst>
          </p:cNvPr>
          <p:cNvSpPr txBox="1">
            <a:spLocks/>
          </p:cNvSpPr>
          <p:nvPr/>
        </p:nvSpPr>
        <p:spPr>
          <a:xfrm>
            <a:off x="259579" y="72487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8354C10-EED4-56C8-39C3-8D372F5ABB89}"/>
              </a:ext>
            </a:extLst>
          </p:cNvPr>
          <p:cNvSpPr txBox="1">
            <a:spLocks/>
          </p:cNvSpPr>
          <p:nvPr/>
        </p:nvSpPr>
        <p:spPr>
          <a:xfrm>
            <a:off x="291329" y="1651922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C01238E-4890-AD12-C263-715A90C8B8A6}"/>
              </a:ext>
            </a:extLst>
          </p:cNvPr>
          <p:cNvSpPr txBox="1">
            <a:spLocks/>
          </p:cNvSpPr>
          <p:nvPr/>
        </p:nvSpPr>
        <p:spPr>
          <a:xfrm>
            <a:off x="1794604" y="1532129"/>
            <a:ext cx="3202592" cy="14897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Normalizes </a:t>
            </a:r>
            <a:r>
              <a:rPr lang="en-GB" sz="1800" dirty="0">
                <a:latin typeface="Bahnschrift SemiCondensed" panose="020B0502040204020203" pitchFamily="34" charset="0"/>
              </a:rPr>
              <a:t>an operator     in MPO representation with respect to the Frobenius norm 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CECDA0F-5C03-1A27-8ACF-00A42CE59A8F}"/>
              </a:ext>
            </a:extLst>
          </p:cNvPr>
          <p:cNvSpPr txBox="1">
            <a:spLocks/>
          </p:cNvSpPr>
          <p:nvPr/>
        </p:nvSpPr>
        <p:spPr>
          <a:xfrm>
            <a:off x="1804198" y="3151194"/>
            <a:ext cx="3498248" cy="11862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We want to keep track of the convergence of the variational two-site update which minimizes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E1D0FD18-B88B-01CD-E0B8-995D1E399DB1}"/>
              </a:ext>
            </a:extLst>
          </p:cNvPr>
          <p:cNvSpPr txBox="1">
            <a:spLocks/>
          </p:cNvSpPr>
          <p:nvPr/>
        </p:nvSpPr>
        <p:spPr>
          <a:xfrm>
            <a:off x="419274" y="317588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|| \hat{O} ||_F = \sqrt{\text{Tr}[\hat{O} \hat{O}^\dagger]}$&#10;&#10;\end{document}" title="IguanaTex Picture Display">
            <a:extLst>
              <a:ext uri="{FF2B5EF4-FFF2-40B4-BE49-F238E27FC236}">
                <a16:creationId xmlns:a16="http://schemas.microsoft.com/office/drawing/2014/main" id="{0D06688D-97AB-A9DF-0E60-5E1F6B084B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2435277"/>
            <a:ext cx="2118095" cy="448417"/>
          </a:xfrm>
          <a:prstGeom prst="rect">
            <a:avLst/>
          </a:prstGeom>
        </p:spPr>
      </p:pic>
      <p:pic>
        <p:nvPicPr>
          <p:cNvPr id="16" name="Picture 15" descr="\documentclass{article}&#10;\usepackage{amsmath}&#10;\pagestyle{empty}&#10;\begin{document}&#10;&#10;&#10;$\hat{O}&#10;$&#10;&#10;\end{document}" title="IguanaTex Picture Display">
            <a:extLst>
              <a:ext uri="{FF2B5EF4-FFF2-40B4-BE49-F238E27FC236}">
                <a16:creationId xmlns:a16="http://schemas.microsoft.com/office/drawing/2014/main" id="{B1F3EE76-DFC0-2C96-F0F9-033A5FCD7E7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799" y="1546462"/>
            <a:ext cx="175238" cy="245333"/>
          </a:xfrm>
          <a:prstGeom prst="rect">
            <a:avLst/>
          </a:prstGeom>
        </p:spPr>
      </p:pic>
      <p:pic>
        <p:nvPicPr>
          <p:cNvPr id="23" name="Picture 22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4DFD64BD-1F73-9476-0A26-1ECDE24A33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4091859"/>
            <a:ext cx="2847999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AA9BCF-B6D3-2443-A46A-60426207F0F6}"/>
              </a:ext>
            </a:extLst>
          </p:cNvPr>
          <p:cNvSpPr/>
          <p:nvPr/>
        </p:nvSpPr>
        <p:spPr>
          <a:xfrm>
            <a:off x="47625" y="50564"/>
            <a:ext cx="5245227" cy="47043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7C3D071-9BD9-8C65-9CEF-1EF719FA1216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69E4B3-6916-1FA8-43E8-35D8978CA08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59290" y="401301"/>
            <a:ext cx="5784048" cy="554916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436EC5F-580C-4C9C-4824-CB4F05BBBBB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93134" y="5041142"/>
            <a:ext cx="5325494" cy="163093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0130714"/>
      </p:ext>
    </p:extLst>
  </p:cSld>
  <p:clrMapOvr>
    <a:masterClrMapping/>
  </p:clrMapOvr>
  <p:transition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9592F-D471-7916-2E76-7BB7C1F8B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9AA2B4-99CB-C461-AEC1-E99A4EF77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63D92272-1267-19B0-8536-9168C28117E0}"/>
              </a:ext>
            </a:extLst>
          </p:cNvPr>
          <p:cNvSpPr txBox="1">
            <a:spLocks/>
          </p:cNvSpPr>
          <p:nvPr/>
        </p:nvSpPr>
        <p:spPr>
          <a:xfrm>
            <a:off x="525273" y="70225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9CD944B-9D5A-D8F6-D57B-05A35DF10E94}"/>
              </a:ext>
            </a:extLst>
          </p:cNvPr>
          <p:cNvSpPr txBox="1">
            <a:spLocks/>
          </p:cNvSpPr>
          <p:nvPr/>
        </p:nvSpPr>
        <p:spPr>
          <a:xfrm>
            <a:off x="449139" y="1365596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A597A91F-B9FC-342E-58CE-C83BBEE597CC}"/>
              </a:ext>
            </a:extLst>
          </p:cNvPr>
          <p:cNvSpPr txBox="1">
            <a:spLocks/>
          </p:cNvSpPr>
          <p:nvPr/>
        </p:nvSpPr>
        <p:spPr>
          <a:xfrm>
            <a:off x="2020730" y="1435996"/>
            <a:ext cx="3107865" cy="914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es the trace of an operator in MPO form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8B3A392-3476-35C8-AB5D-7B7419A389EE}"/>
              </a:ext>
            </a:extLst>
          </p:cNvPr>
          <p:cNvSpPr txBox="1">
            <a:spLocks/>
          </p:cNvSpPr>
          <p:nvPr/>
        </p:nvSpPr>
        <p:spPr>
          <a:xfrm>
            <a:off x="1908016" y="3449331"/>
            <a:ext cx="2176048" cy="1259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ation of the partition func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9E438880-1130-E8A1-EAD6-B1F7B3FE2CDF}"/>
              </a:ext>
            </a:extLst>
          </p:cNvPr>
          <p:cNvSpPr txBox="1">
            <a:spLocks/>
          </p:cNvSpPr>
          <p:nvPr/>
        </p:nvSpPr>
        <p:spPr>
          <a:xfrm>
            <a:off x="476250" y="348592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Picture 1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DE6FE23B-A23A-5660-C638-3D97AA3BA0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391" y="2191758"/>
            <a:ext cx="3626200" cy="959166"/>
          </a:xfrm>
          <a:prstGeom prst="rect">
            <a:avLst/>
          </a:prstGeom>
        </p:spPr>
      </p:pic>
      <p:pic>
        <p:nvPicPr>
          <p:cNvPr id="8" name="Picture 7" descr="\documentclass{article}&#10;\usepackage{amsmath}&#10;\pagestyle{empty}&#10;\begin{document}&#10;&#10;&#10;$Z = \text{Tr} [ \text{e}^{-\beta \hat{H}} ] &#10;$&#10;&#10;\end{document}" title="IguanaTex Picture Display">
            <a:extLst>
              <a:ext uri="{FF2B5EF4-FFF2-40B4-BE49-F238E27FC236}">
                <a16:creationId xmlns:a16="http://schemas.microsoft.com/office/drawing/2014/main" id="{FE9F5A80-87E3-DD41-F6E7-4DF40F80971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682" y="4095568"/>
            <a:ext cx="1473523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F31DFB-C5F2-8778-BD6E-CA80A58EA870}"/>
              </a:ext>
            </a:extLst>
          </p:cNvPr>
          <p:cNvSpPr/>
          <p:nvPr/>
        </p:nvSpPr>
        <p:spPr>
          <a:xfrm>
            <a:off x="47625" y="50564"/>
            <a:ext cx="5245227" cy="4658594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C6B8C48-0AFF-BE1B-4221-A4AC1F8B52E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BF0272-350C-DD4D-C38E-D49CA9852A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55300" y="468048"/>
            <a:ext cx="5627348" cy="484479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431BE49-5DA3-F0DB-C6FC-5C99609175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6700" y="4983845"/>
            <a:ext cx="5627348" cy="163789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1" name="Untertitel 2 4 1 1 1">
            <a:extLst>
              <a:ext uri="{FF2B5EF4-FFF2-40B4-BE49-F238E27FC236}">
                <a16:creationId xmlns:a16="http://schemas.microsoft.com/office/drawing/2014/main" id="{B2D49C04-41A9-8F0E-0FDB-494FCC03BF98}"/>
              </a:ext>
            </a:extLst>
          </p:cNvPr>
          <p:cNvSpPr txBox="1">
            <a:spLocks/>
          </p:cNvSpPr>
          <p:nvPr/>
        </p:nvSpPr>
        <p:spPr>
          <a:xfrm>
            <a:off x="6383970" y="5872300"/>
            <a:ext cx="5081455" cy="32788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noProof="0" dirty="0">
                <a:latin typeface="Bahnschrift SemiCondensed" panose="020B0502040204020203" pitchFamily="34" charset="0"/>
              </a:rPr>
              <a:t>Checked the functionality of all methods with unit tests! </a:t>
            </a:r>
            <a:endParaRPr lang="en-US" sz="1800" noProof="0" dirty="0"/>
          </a:p>
        </p:txBody>
      </p:sp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3FB9C98D-E124-AE71-C302-90A12C3E7B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203157" y="5872300"/>
            <a:ext cx="288549" cy="288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066743"/>
      </p:ext>
    </p:extLst>
  </p:cSld>
  <p:clrMapOvr>
    <a:masterClrMapping/>
  </p:clrMapOvr>
  <p:transition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B350F5-3294-9032-D2B4-021488253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79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C15DC51-BC25-BA34-D761-90A7930B17D5}"/>
              </a:ext>
            </a:extLst>
          </p:cNvPr>
          <p:cNvSpPr txBox="1">
            <a:spLocks/>
          </p:cNvSpPr>
          <p:nvPr/>
        </p:nvSpPr>
        <p:spPr>
          <a:xfrm>
            <a:off x="2544970" y="505747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utline of the Tal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AA5E5A4-83CD-7440-9326-3EEECB651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Untertitel 2 5 1">
            <a:extLst>
              <a:ext uri="{FF2B5EF4-FFF2-40B4-BE49-F238E27FC236}">
                <a16:creationId xmlns:a16="http://schemas.microsoft.com/office/drawing/2014/main" id="{A0B4A379-425F-2CED-A6AC-655F7E6B8A0A}"/>
              </a:ext>
            </a:extLst>
          </p:cNvPr>
          <p:cNvSpPr txBox="1">
            <a:spLocks/>
          </p:cNvSpPr>
          <p:nvPr/>
        </p:nvSpPr>
        <p:spPr>
          <a:xfrm>
            <a:off x="1350773" y="1310421"/>
            <a:ext cx="3586540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. </a:t>
            </a:r>
            <a:r>
              <a:rPr lang="en-US" sz="2000" dirty="0">
                <a:latin typeface="Bahnschrift SemiCondensed" panose="020B0502040204020203" pitchFamily="34" charset="0"/>
              </a:rPr>
              <a:t>Motivation &amp; Key Ideas of XTRG</a:t>
            </a:r>
            <a:endParaRPr lang="en-US" sz="2000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038FB-0597-6519-3077-7E60A693AB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414" y="1841733"/>
            <a:ext cx="4947014" cy="17591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38000"/>
              </a:srgbClr>
            </a:outerShdw>
          </a:effectLst>
        </p:spPr>
      </p:pic>
      <p:sp>
        <p:nvSpPr>
          <p:cNvPr id="13" name="Untertitel 2 5 1">
            <a:extLst>
              <a:ext uri="{FF2B5EF4-FFF2-40B4-BE49-F238E27FC236}">
                <a16:creationId xmlns:a16="http://schemas.microsoft.com/office/drawing/2014/main" id="{B4DDD9F6-AD86-B949-DDB3-5F84CD666FFB}"/>
              </a:ext>
            </a:extLst>
          </p:cNvPr>
          <p:cNvSpPr txBox="1">
            <a:spLocks/>
          </p:cNvSpPr>
          <p:nvPr/>
        </p:nvSpPr>
        <p:spPr>
          <a:xfrm>
            <a:off x="1941286" y="4198660"/>
            <a:ext cx="3932328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/>
          </a:p>
        </p:txBody>
      </p:sp>
      <p:sp>
        <p:nvSpPr>
          <p:cNvPr id="14" name="Untertitel 2 5 1">
            <a:extLst>
              <a:ext uri="{FF2B5EF4-FFF2-40B4-BE49-F238E27FC236}">
                <a16:creationId xmlns:a16="http://schemas.microsoft.com/office/drawing/2014/main" id="{93F7AB19-FB1E-CAC4-89B7-A807ADF428AA}"/>
              </a:ext>
            </a:extLst>
          </p:cNvPr>
          <p:cNvSpPr txBox="1">
            <a:spLocks/>
          </p:cNvSpPr>
          <p:nvPr/>
        </p:nvSpPr>
        <p:spPr>
          <a:xfrm>
            <a:off x="1244715" y="3955012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Global Structure of the XTRG Algorithm</a:t>
            </a:r>
            <a:endParaRPr lang="en-US" sz="2000" noProof="0" dirty="0"/>
          </a:p>
        </p:txBody>
      </p:sp>
      <p:pic>
        <p:nvPicPr>
          <p:cNvPr id="17" name="Picture 16" descr="A diagram of a network&#10;&#10;Description automatically generated">
            <a:extLst>
              <a:ext uri="{FF2B5EF4-FFF2-40B4-BE49-F238E27FC236}">
                <a16:creationId xmlns:a16="http://schemas.microsoft.com/office/drawing/2014/main" id="{0CF12560-C496-1122-9B8B-D63E1128BF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91" y="5002245"/>
            <a:ext cx="1963760" cy="769025"/>
          </a:xfrm>
          <a:prstGeom prst="rect">
            <a:avLst/>
          </a:prstGeom>
        </p:spPr>
      </p:pic>
      <p:sp>
        <p:nvSpPr>
          <p:cNvPr id="23" name="Untertitel 2 4 1 1 1">
            <a:extLst>
              <a:ext uri="{FF2B5EF4-FFF2-40B4-BE49-F238E27FC236}">
                <a16:creationId xmlns:a16="http://schemas.microsoft.com/office/drawing/2014/main" id="{ECB7B0F2-73A4-D817-7758-ED7E4D33A1BE}"/>
              </a:ext>
            </a:extLst>
          </p:cNvPr>
          <p:cNvSpPr txBox="1">
            <a:spLocks/>
          </p:cNvSpPr>
          <p:nvPr/>
        </p:nvSpPr>
        <p:spPr>
          <a:xfrm>
            <a:off x="1731126" y="4513835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8" name="Picture 27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F6A64082-AF69-B17A-A579-B0523E3912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48" y="5717955"/>
            <a:ext cx="2861710" cy="905913"/>
          </a:xfrm>
          <a:prstGeom prst="rect">
            <a:avLst/>
          </a:prstGeom>
        </p:spPr>
      </p:pic>
      <p:sp>
        <p:nvSpPr>
          <p:cNvPr id="29" name="Untertitel 2 4 1 1 1">
            <a:extLst>
              <a:ext uri="{FF2B5EF4-FFF2-40B4-BE49-F238E27FC236}">
                <a16:creationId xmlns:a16="http://schemas.microsoft.com/office/drawing/2014/main" id="{A9919621-4ADD-F91E-FD04-49516E040EB0}"/>
              </a:ext>
            </a:extLst>
          </p:cNvPr>
          <p:cNvSpPr txBox="1">
            <a:spLocks/>
          </p:cNvSpPr>
          <p:nvPr/>
        </p:nvSpPr>
        <p:spPr>
          <a:xfrm>
            <a:off x="6631880" y="2673249"/>
            <a:ext cx="316374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sor manipulations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F6086469-C60E-97E5-5AB7-2030E0E6B82C}"/>
              </a:ext>
            </a:extLst>
          </p:cNvPr>
          <p:cNvSpPr txBox="1">
            <a:spLocks/>
          </p:cNvSpPr>
          <p:nvPr/>
        </p:nvSpPr>
        <p:spPr>
          <a:xfrm>
            <a:off x="1271091" y="6034083"/>
            <a:ext cx="224753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Variational XTRG updat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1 1">
            <a:extLst>
              <a:ext uri="{FF2B5EF4-FFF2-40B4-BE49-F238E27FC236}">
                <a16:creationId xmlns:a16="http://schemas.microsoft.com/office/drawing/2014/main" id="{21F5D846-0BBB-B128-3C62-0BE60B4375CF}"/>
              </a:ext>
            </a:extLst>
          </p:cNvPr>
          <p:cNvSpPr txBox="1">
            <a:spLocks/>
          </p:cNvSpPr>
          <p:nvPr/>
        </p:nvSpPr>
        <p:spPr>
          <a:xfrm>
            <a:off x="7080566" y="3797876"/>
            <a:ext cx="2066684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MRG-type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Untertitel 2 5 1">
            <a:extLst>
              <a:ext uri="{FF2B5EF4-FFF2-40B4-BE49-F238E27FC236}">
                <a16:creationId xmlns:a16="http://schemas.microsoft.com/office/drawing/2014/main" id="{3EB9A42C-CB8C-396A-BD3A-D72A2457A3F5}"/>
              </a:ext>
            </a:extLst>
          </p:cNvPr>
          <p:cNvSpPr txBox="1">
            <a:spLocks/>
          </p:cNvSpPr>
          <p:nvPr/>
        </p:nvSpPr>
        <p:spPr>
          <a:xfrm>
            <a:off x="7157615" y="1442465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Implementation of the XTRG Algorithm</a:t>
            </a:r>
            <a:endParaRPr lang="en-US" sz="2000" noProof="0" dirty="0"/>
          </a:p>
        </p:txBody>
      </p:sp>
      <p:pic>
        <p:nvPicPr>
          <p:cNvPr id="35" name="Picture 34" descr="A yellow square with black lines&#10;&#10;AI-generated content may be incorrect.">
            <a:extLst>
              <a:ext uri="{FF2B5EF4-FFF2-40B4-BE49-F238E27FC236}">
                <a16:creationId xmlns:a16="http://schemas.microsoft.com/office/drawing/2014/main" id="{21E15AE8-9D77-BA89-5FF4-36232A3C79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303" y="4449375"/>
            <a:ext cx="1963760" cy="435882"/>
          </a:xfrm>
          <a:prstGeom prst="rect">
            <a:avLst/>
          </a:prstGeom>
        </p:spPr>
      </p:pic>
      <p:sp>
        <p:nvSpPr>
          <p:cNvPr id="36" name="Untertitel 2 4 1 1 1">
            <a:extLst>
              <a:ext uri="{FF2B5EF4-FFF2-40B4-BE49-F238E27FC236}">
                <a16:creationId xmlns:a16="http://schemas.microsoft.com/office/drawing/2014/main" id="{8CE7DF85-EBCF-5090-898E-AF416C2282CC}"/>
              </a:ext>
            </a:extLst>
          </p:cNvPr>
          <p:cNvSpPr txBox="1">
            <a:spLocks/>
          </p:cNvSpPr>
          <p:nvPr/>
        </p:nvSpPr>
        <p:spPr>
          <a:xfrm>
            <a:off x="2982861" y="5225241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trac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Untertitel 2 4 1 1 1">
            <a:extLst>
              <a:ext uri="{FF2B5EF4-FFF2-40B4-BE49-F238E27FC236}">
                <a16:creationId xmlns:a16="http://schemas.microsoft.com/office/drawing/2014/main" id="{8D724AD7-5C3F-1127-58D4-CD9E97FA8E66}"/>
              </a:ext>
            </a:extLst>
          </p:cNvPr>
          <p:cNvSpPr txBox="1">
            <a:spLocks/>
          </p:cNvSpPr>
          <p:nvPr/>
        </p:nvSpPr>
        <p:spPr>
          <a:xfrm>
            <a:off x="9376845" y="3453755"/>
            <a:ext cx="2291074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iza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97245FAE-B605-AF7C-6460-8F7839F02169}"/>
              </a:ext>
            </a:extLst>
          </p:cNvPr>
          <p:cNvSpPr txBox="1">
            <a:spLocks/>
          </p:cNvSpPr>
          <p:nvPr/>
        </p:nvSpPr>
        <p:spPr>
          <a:xfrm>
            <a:off x="5806245" y="2452910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ensor_svd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2860C574-A254-496C-29DA-53795A2A01E4}"/>
              </a:ext>
            </a:extLst>
          </p:cNvPr>
          <p:cNvSpPr txBox="1">
            <a:spLocks/>
          </p:cNvSpPr>
          <p:nvPr/>
        </p:nvSpPr>
        <p:spPr>
          <a:xfrm>
            <a:off x="8213753" y="2183303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0" name="Untertitel 2 4 1 1 1">
            <a:extLst>
              <a:ext uri="{FF2B5EF4-FFF2-40B4-BE49-F238E27FC236}">
                <a16:creationId xmlns:a16="http://schemas.microsoft.com/office/drawing/2014/main" id="{04C7C1AC-D0B2-46FD-9FA9-B67CD45718E6}"/>
              </a:ext>
            </a:extLst>
          </p:cNvPr>
          <p:cNvSpPr txBox="1">
            <a:spLocks/>
          </p:cNvSpPr>
          <p:nvPr/>
        </p:nvSpPr>
        <p:spPr>
          <a:xfrm>
            <a:off x="9542075" y="296109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_canonical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1" name="Untertitel 2 4 1 1 1">
            <a:extLst>
              <a:ext uri="{FF2B5EF4-FFF2-40B4-BE49-F238E27FC236}">
                <a16:creationId xmlns:a16="http://schemas.microsoft.com/office/drawing/2014/main" id="{237A82CC-6F29-574B-81D9-6DDF5B59539F}"/>
              </a:ext>
            </a:extLst>
          </p:cNvPr>
          <p:cNvSpPr txBox="1">
            <a:spLocks/>
          </p:cNvSpPr>
          <p:nvPr/>
        </p:nvSpPr>
        <p:spPr>
          <a:xfrm>
            <a:off x="6271769" y="3173174"/>
            <a:ext cx="1058677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2" name="Untertitel 2 4 1 1 1">
            <a:extLst>
              <a:ext uri="{FF2B5EF4-FFF2-40B4-BE49-F238E27FC236}">
                <a16:creationId xmlns:a16="http://schemas.microsoft.com/office/drawing/2014/main" id="{A1B5E136-F552-42E5-212E-D74F3D17E73B}"/>
              </a:ext>
            </a:extLst>
          </p:cNvPr>
          <p:cNvSpPr txBox="1">
            <a:spLocks/>
          </p:cNvSpPr>
          <p:nvPr/>
        </p:nvSpPr>
        <p:spPr>
          <a:xfrm>
            <a:off x="7810858" y="311167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3" name="Untertitel 2 4 1 1 1">
            <a:extLst>
              <a:ext uri="{FF2B5EF4-FFF2-40B4-BE49-F238E27FC236}">
                <a16:creationId xmlns:a16="http://schemas.microsoft.com/office/drawing/2014/main" id="{FB093C52-F074-31F9-CBFE-230F9D3C323B}"/>
              </a:ext>
            </a:extLst>
          </p:cNvPr>
          <p:cNvSpPr txBox="1">
            <a:spLocks/>
          </p:cNvSpPr>
          <p:nvPr/>
        </p:nvSpPr>
        <p:spPr>
          <a:xfrm>
            <a:off x="6814099" y="2116340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4" name="Untertitel 2 4 1 1 1">
            <a:extLst>
              <a:ext uri="{FF2B5EF4-FFF2-40B4-BE49-F238E27FC236}">
                <a16:creationId xmlns:a16="http://schemas.microsoft.com/office/drawing/2014/main" id="{6AE0EC9B-059D-2EFA-E5E1-15721DDA7C12}"/>
              </a:ext>
            </a:extLst>
          </p:cNvPr>
          <p:cNvSpPr txBox="1">
            <a:spLocks/>
          </p:cNvSpPr>
          <p:nvPr/>
        </p:nvSpPr>
        <p:spPr>
          <a:xfrm>
            <a:off x="6516028" y="4281596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5" name="Untertitel 2 4 1 1 1">
            <a:extLst>
              <a:ext uri="{FF2B5EF4-FFF2-40B4-BE49-F238E27FC236}">
                <a16:creationId xmlns:a16="http://schemas.microsoft.com/office/drawing/2014/main" id="{DD4D6EF7-BFFA-4F71-311C-96CDB691928E}"/>
              </a:ext>
            </a:extLst>
          </p:cNvPr>
          <p:cNvSpPr txBox="1">
            <a:spLocks/>
          </p:cNvSpPr>
          <p:nvPr/>
        </p:nvSpPr>
        <p:spPr>
          <a:xfrm>
            <a:off x="8213753" y="4446641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6" name="Untertitel 2 5 1">
            <a:extLst>
              <a:ext uri="{FF2B5EF4-FFF2-40B4-BE49-F238E27FC236}">
                <a16:creationId xmlns:a16="http://schemas.microsoft.com/office/drawing/2014/main" id="{E48C7DFD-D058-EA05-F5AB-2A808E6C2C54}"/>
              </a:ext>
            </a:extLst>
          </p:cNvPr>
          <p:cNvSpPr txBox="1">
            <a:spLocks/>
          </p:cNvSpPr>
          <p:nvPr/>
        </p:nvSpPr>
        <p:spPr>
          <a:xfrm>
            <a:off x="7937132" y="5494344"/>
            <a:ext cx="3364852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V. </a:t>
            </a:r>
            <a:r>
              <a:rPr lang="en-US" sz="2000" noProof="0" dirty="0">
                <a:latin typeface="Bahnschrift SemiCondensed" panose="020B0502040204020203" pitchFamily="34" charset="0"/>
              </a:rPr>
              <a:t>Simulation of the 1D XY-Model</a:t>
            </a:r>
            <a:endParaRPr lang="en-US" sz="2000" noProof="0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A183DB71-61E7-71FB-3129-84EB1597E86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36036" y="3844416"/>
            <a:ext cx="1533428" cy="1145452"/>
          </a:xfrm>
          <a:prstGeom prst="rect">
            <a:avLst/>
          </a:prstGeom>
        </p:spPr>
      </p:pic>
      <p:pic>
        <p:nvPicPr>
          <p:cNvPr id="55" name="Picture 54" descr="A diagram of a diagram&#10;&#10;AI-generated content may be incorrect.">
            <a:extLst>
              <a:ext uri="{FF2B5EF4-FFF2-40B4-BE49-F238E27FC236}">
                <a16:creationId xmlns:a16="http://schemas.microsoft.com/office/drawing/2014/main" id="{189E925C-1BB7-5126-CCFC-EE32557CA8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289" y="1959342"/>
            <a:ext cx="2207559" cy="647727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B5E3C9B-3BB6-4B48-D0E2-EB0B23DFC977}"/>
              </a:ext>
            </a:extLst>
          </p:cNvPr>
          <p:cNvSpPr txBox="1"/>
          <p:nvPr/>
        </p:nvSpPr>
        <p:spPr>
          <a:xfrm>
            <a:off x="7382590" y="6408015"/>
            <a:ext cx="48094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14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1400" dirty="0">
                <a:latin typeface="Bahnschrift SemiCondensed" panose="020B0502040204020203" pitchFamily="34" charset="0"/>
              </a:rPr>
              <a:t> (2018)</a:t>
            </a:r>
            <a:endParaRPr lang="en-US" sz="1400" dirty="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9FD7CADD-1E8B-782E-84A1-2D78A1B1B837}"/>
              </a:ext>
            </a:extLst>
          </p:cNvPr>
          <p:cNvSpPr/>
          <p:nvPr/>
        </p:nvSpPr>
        <p:spPr>
          <a:xfrm>
            <a:off x="7251397" y="5556018"/>
            <a:ext cx="600790" cy="157633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1C97737-F238-4C45-8792-4E8F70C88626}"/>
              </a:ext>
            </a:extLst>
          </p:cNvPr>
          <p:cNvSpPr txBox="1"/>
          <p:nvPr/>
        </p:nvSpPr>
        <p:spPr>
          <a:xfrm>
            <a:off x="4622867" y="1243451"/>
            <a:ext cx="4115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1552557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  <p:bldP spid="14" grpId="0"/>
      <p:bldP spid="23" grpId="0"/>
      <p:bldP spid="29" grpId="0"/>
      <p:bldP spid="30" grpId="0"/>
      <p:bldP spid="31" grpId="0"/>
      <p:bldP spid="32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  <p:bldP spid="60" grpId="0"/>
      <p:bldP spid="61" grpId="0" animBg="1"/>
      <p:bldP spid="6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F663C-003D-5567-A539-D1A2D5E57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418F0C-CBF6-C5F1-57D4-DCB35B2991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93F9FCA7-A2A2-ADB2-4C50-6A38C5CC9BFC}"/>
              </a:ext>
            </a:extLst>
          </p:cNvPr>
          <p:cNvSpPr txBox="1">
            <a:spLocks/>
          </p:cNvSpPr>
          <p:nvPr/>
        </p:nvSpPr>
        <p:spPr>
          <a:xfrm>
            <a:off x="174380" y="90452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8A1326DF-5CEA-5E8D-23FB-27F9C1E63D67}"/>
              </a:ext>
            </a:extLst>
          </p:cNvPr>
          <p:cNvSpPr txBox="1">
            <a:spLocks/>
          </p:cNvSpPr>
          <p:nvPr/>
        </p:nvSpPr>
        <p:spPr>
          <a:xfrm>
            <a:off x="492256" y="159975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7729C5-FE5F-46CE-D433-036BF8296BC8}"/>
              </a:ext>
            </a:extLst>
          </p:cNvPr>
          <p:cNvSpPr txBox="1">
            <a:spLocks/>
          </p:cNvSpPr>
          <p:nvPr/>
        </p:nvSpPr>
        <p:spPr>
          <a:xfrm>
            <a:off x="492256" y="2085662"/>
            <a:ext cx="4105238" cy="22456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combines all previous methods in a DMRG-type variational two-site update method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In essence, it takes an input MP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nd returns its square, truncated and optimized after several sweeps.</a:t>
            </a:r>
            <a:endParaRPr lang="en-US" sz="1800" noProof="0" dirty="0"/>
          </a:p>
        </p:txBody>
      </p:sp>
      <p:pic>
        <p:nvPicPr>
          <p:cNvPr id="5" name="Picture 4" descr="\documentclass{article}&#10;\usepackage{amsmath}&#10;\pagestyle{empty}&#10;\begin{document}&#10;&#10;&#10;$\text{e}^{-\beta \hat{H}}$&#10;&#10;\end{document}" title="IguanaTex Picture Display">
            <a:extLst>
              <a:ext uri="{FF2B5EF4-FFF2-40B4-BE49-F238E27FC236}">
                <a16:creationId xmlns:a16="http://schemas.microsoft.com/office/drawing/2014/main" id="{33ECE022-6C63-E0C6-E76A-162AE7A73FE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272" y="2918006"/>
            <a:ext cx="559238" cy="2636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2DA165-9EB9-D834-80AB-90C8CE18E6CA}"/>
              </a:ext>
            </a:extLst>
          </p:cNvPr>
          <p:cNvSpPr/>
          <p:nvPr/>
        </p:nvSpPr>
        <p:spPr>
          <a:xfrm>
            <a:off x="301460" y="635272"/>
            <a:ext cx="4296034" cy="3246088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A97AA84-66F9-787C-346A-89796F9862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4031" y="237679"/>
            <a:ext cx="6806509" cy="627284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4035E45-B55E-480B-0729-591F0DD820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4031" y="6235700"/>
            <a:ext cx="4904423" cy="231573"/>
          </a:xfrm>
          <a:prstGeom prst="rect">
            <a:avLst/>
          </a:prstGeom>
        </p:spPr>
      </p:pic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EF29CAC7-F7C7-4560-35C4-836055280B2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5" name="Untertitel 2 1">
            <a:extLst>
              <a:ext uri="{FF2B5EF4-FFF2-40B4-BE49-F238E27FC236}">
                <a16:creationId xmlns:a16="http://schemas.microsoft.com/office/drawing/2014/main" id="{58134EE8-15A8-54D9-68F1-973DF2EECAD9}"/>
              </a:ext>
            </a:extLst>
          </p:cNvPr>
          <p:cNvSpPr txBox="1">
            <a:spLocks/>
          </p:cNvSpPr>
          <p:nvPr/>
        </p:nvSpPr>
        <p:spPr>
          <a:xfrm>
            <a:off x="258040" y="436771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562616-BE24-1D33-AE5F-37551BD2E7BB}"/>
              </a:ext>
            </a:extLst>
          </p:cNvPr>
          <p:cNvSpPr/>
          <p:nvPr/>
        </p:nvSpPr>
        <p:spPr>
          <a:xfrm>
            <a:off x="301460" y="4210312"/>
            <a:ext cx="4296034" cy="23002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F0476F-D90E-8B12-A657-A4B6A856023A}"/>
              </a:ext>
            </a:extLst>
          </p:cNvPr>
          <p:cNvSpPr txBox="1"/>
          <p:nvPr/>
        </p:nvSpPr>
        <p:spPr>
          <a:xfrm>
            <a:off x="447650" y="5491815"/>
            <a:ext cx="41498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iteratively calls                 and returns tuples (                  ), as well as the singular values on the bonds.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3AEBBDF-D7BF-4919-2AB1-97452AC88C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500" y="5575914"/>
            <a:ext cx="827543" cy="224876"/>
          </a:xfrm>
          <a:prstGeom prst="rect">
            <a:avLst/>
          </a:prstGeom>
        </p:spPr>
      </p:pic>
      <p:pic>
        <p:nvPicPr>
          <p:cNvPr id="30" name="Picture 29" descr="\documentclass{article}&#10;\usepackage{amsmath}&#10;\pagestyle{empty}&#10;\begin{document}&#10;&#10;$\beta, Z, \text{e}^{- \beta \hat{H}}_{\text{MPO}}$&#10;&#10;&#10;\end{document}" title="IguanaTex Picture Display">
            <a:extLst>
              <a:ext uri="{FF2B5EF4-FFF2-40B4-BE49-F238E27FC236}">
                <a16:creationId xmlns:a16="http://schemas.microsoft.com/office/drawing/2014/main" id="{19E1B92F-4A4C-7382-816C-14ADDA350DF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377" y="5800790"/>
            <a:ext cx="923485" cy="301572"/>
          </a:xfrm>
          <a:prstGeom prst="rect">
            <a:avLst/>
          </a:prstGeom>
        </p:spPr>
      </p:pic>
      <p:sp>
        <p:nvSpPr>
          <p:cNvPr id="37" name="Untertitel 2 2">
            <a:extLst>
              <a:ext uri="{FF2B5EF4-FFF2-40B4-BE49-F238E27FC236}">
                <a16:creationId xmlns:a16="http://schemas.microsoft.com/office/drawing/2014/main" id="{684965BA-9E36-3C59-D104-83651C81804C}"/>
              </a:ext>
            </a:extLst>
          </p:cNvPr>
          <p:cNvSpPr txBox="1">
            <a:spLocks/>
          </p:cNvSpPr>
          <p:nvPr/>
        </p:nvSpPr>
        <p:spPr>
          <a:xfrm>
            <a:off x="476250" y="505002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05911"/>
      </p:ext>
    </p:extLst>
  </p:cSld>
  <p:clrMapOvr>
    <a:masterClrMapping/>
  </p:clrMapOvr>
  <p:transition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513356-1A7B-353E-CC5C-65E87AFEC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6E7227-017C-C30B-689D-D43C527B6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DFAD672-6A79-4BA4-9A90-BF71262EA4B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21773" b="63738"/>
          <a:stretch>
            <a:fillRect/>
          </a:stretch>
        </p:blipFill>
        <p:spPr>
          <a:xfrm>
            <a:off x="287123" y="1486318"/>
            <a:ext cx="7439557" cy="63086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A1F061-AD1B-D7E3-590A-4CBB3BBF2D2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27" t="29263" r="1363" b="-701"/>
          <a:stretch>
            <a:fillRect/>
          </a:stretch>
        </p:blipFill>
        <p:spPr>
          <a:xfrm>
            <a:off x="4315968" y="2608908"/>
            <a:ext cx="5614416" cy="292313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0CB107C-CE36-BB0F-9C04-0F035B1EE5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4510" y="203203"/>
            <a:ext cx="7530998" cy="39418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Arrow: Right 15">
            <a:extLst>
              <a:ext uri="{FF2B5EF4-FFF2-40B4-BE49-F238E27FC236}">
                <a16:creationId xmlns:a16="http://schemas.microsoft.com/office/drawing/2014/main" id="{C3CAD08A-95B3-C85E-7944-2E6AF9E153A2}"/>
              </a:ext>
            </a:extLst>
          </p:cNvPr>
          <p:cNvSpPr/>
          <p:nvPr/>
        </p:nvSpPr>
        <p:spPr>
          <a:xfrm rot="5400000">
            <a:off x="791968" y="93510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8768359-C546-B276-2D9C-B5157E7B801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578" t="45880" r="51806" b="7891"/>
          <a:stretch>
            <a:fillRect/>
          </a:stretch>
        </p:blipFill>
        <p:spPr>
          <a:xfrm>
            <a:off x="287121" y="2953739"/>
            <a:ext cx="3520265" cy="200018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10782FCC-6B42-3ADD-C875-189DA06EEBC7}"/>
              </a:ext>
            </a:extLst>
          </p:cNvPr>
          <p:cNvSpPr/>
          <p:nvPr/>
        </p:nvSpPr>
        <p:spPr>
          <a:xfrm rot="5400000">
            <a:off x="441995" y="248341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ntertitel 2 4 1 1 1">
            <a:extLst>
              <a:ext uri="{FF2B5EF4-FFF2-40B4-BE49-F238E27FC236}">
                <a16:creationId xmlns:a16="http://schemas.microsoft.com/office/drawing/2014/main" id="{F2D4637D-63AB-2870-FF48-1E791994BD48}"/>
              </a:ext>
            </a:extLst>
          </p:cNvPr>
          <p:cNvSpPr txBox="1">
            <a:spLocks/>
          </p:cNvSpPr>
          <p:nvPr/>
        </p:nvSpPr>
        <p:spPr>
          <a:xfrm>
            <a:off x="1230407" y="875212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crease bon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 dimens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4 1 1 1">
            <a:extLst>
              <a:ext uri="{FF2B5EF4-FFF2-40B4-BE49-F238E27FC236}">
                <a16:creationId xmlns:a16="http://schemas.microsoft.com/office/drawing/2014/main" id="{91ADA37E-2609-F6FE-9498-26ED44ED8C76}"/>
              </a:ext>
            </a:extLst>
          </p:cNvPr>
          <p:cNvSpPr txBox="1">
            <a:spLocks/>
          </p:cNvSpPr>
          <p:nvPr/>
        </p:nvSpPr>
        <p:spPr>
          <a:xfrm>
            <a:off x="880433" y="2429873"/>
            <a:ext cx="287063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itialize and canonicalize MPO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5307439-069A-0609-797F-9309270D90E3}"/>
              </a:ext>
            </a:extLst>
          </p:cNvPr>
          <p:cNvSpPr/>
          <p:nvPr/>
        </p:nvSpPr>
        <p:spPr>
          <a:xfrm rot="5400000">
            <a:off x="441996" y="527728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ntertitel 2 4 1 1 1">
            <a:extLst>
              <a:ext uri="{FF2B5EF4-FFF2-40B4-BE49-F238E27FC236}">
                <a16:creationId xmlns:a16="http://schemas.microsoft.com/office/drawing/2014/main" id="{8E09F679-1841-C470-25E1-6587463EA335}"/>
              </a:ext>
            </a:extLst>
          </p:cNvPr>
          <p:cNvSpPr txBox="1">
            <a:spLocks/>
          </p:cNvSpPr>
          <p:nvPr/>
        </p:nvSpPr>
        <p:spPr>
          <a:xfrm>
            <a:off x="847600" y="5217392"/>
            <a:ext cx="3331244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repare environments for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BB771F8-4BCE-AB4E-1265-E2234171687F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3879" b="70109"/>
          <a:stretch>
            <a:fillRect/>
          </a:stretch>
        </p:blipFill>
        <p:spPr>
          <a:xfrm>
            <a:off x="349622" y="5848252"/>
            <a:ext cx="5746378" cy="65992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9" name="Arrow: Bent-Up 28">
            <a:extLst>
              <a:ext uri="{FF2B5EF4-FFF2-40B4-BE49-F238E27FC236}">
                <a16:creationId xmlns:a16="http://schemas.microsoft.com/office/drawing/2014/main" id="{11D83BE1-6BE4-73F6-D07E-1FBA76320CDF}"/>
              </a:ext>
            </a:extLst>
          </p:cNvPr>
          <p:cNvSpPr/>
          <p:nvPr/>
        </p:nvSpPr>
        <p:spPr>
          <a:xfrm>
            <a:off x="6416638" y="5870721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423B0A7F-F48F-3067-559C-F90139BFD7BE}"/>
              </a:ext>
            </a:extLst>
          </p:cNvPr>
          <p:cNvSpPr txBox="1">
            <a:spLocks/>
          </p:cNvSpPr>
          <p:nvPr/>
        </p:nvSpPr>
        <p:spPr>
          <a:xfrm>
            <a:off x="6914378" y="5971724"/>
            <a:ext cx="4579630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eft-to-right sweeping (back direction analogously)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0BCB319-A0AB-A058-67FA-F967435B19E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44388" y="886561"/>
            <a:ext cx="3860489" cy="140613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36" name="Arrow: Bent-Up 35">
            <a:extLst>
              <a:ext uri="{FF2B5EF4-FFF2-40B4-BE49-F238E27FC236}">
                <a16:creationId xmlns:a16="http://schemas.microsoft.com/office/drawing/2014/main" id="{FF799DAB-F22F-CF29-B343-D39B4C19B38B}"/>
              </a:ext>
            </a:extLst>
          </p:cNvPr>
          <p:cNvSpPr/>
          <p:nvPr/>
        </p:nvSpPr>
        <p:spPr>
          <a:xfrm>
            <a:off x="10511150" y="2476567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05B951C7-4B38-00AB-A034-DE861F9F39FA}"/>
              </a:ext>
            </a:extLst>
          </p:cNvPr>
          <p:cNvSpPr txBox="1">
            <a:spLocks/>
          </p:cNvSpPr>
          <p:nvPr/>
        </p:nvSpPr>
        <p:spPr>
          <a:xfrm>
            <a:off x="8846414" y="296236"/>
            <a:ext cx="2606851" cy="5777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ute partition func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1912D8A0-875B-F34B-B8EB-23B30897593B}"/>
              </a:ext>
            </a:extLst>
          </p:cNvPr>
          <p:cNvSpPr txBox="1">
            <a:spLocks/>
          </p:cNvSpPr>
          <p:nvPr/>
        </p:nvSpPr>
        <p:spPr>
          <a:xfrm>
            <a:off x="10286964" y="3056939"/>
            <a:ext cx="1905716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eck convergenc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0CC962E-86C9-DAB1-02E4-4EB09FF37D3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64100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20" grpId="0"/>
      <p:bldP spid="22" grpId="0"/>
      <p:bldP spid="24" grpId="0" animBg="1"/>
      <p:bldP spid="25" grpId="0"/>
      <p:bldP spid="29" grpId="0" animBg="1"/>
      <p:bldP spid="30" grpId="0"/>
      <p:bldP spid="36" grpId="0" animBg="1"/>
      <p:bldP spid="38" grpId="0"/>
      <p:bldP spid="3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32ADF-D4D8-FEAD-F759-C8C202651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33CBCD-51AB-B766-082D-6F762BEB4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1CCC98-CA68-490A-6BCE-4E1C65417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EC040197-E482-DFC2-446E-36F0C9B8477B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mulation of the 1D XY-Model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V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79EF555-C613-40AF-4261-38BF66BFC36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945569"/>
      </p:ext>
    </p:extLst>
  </p:cSld>
  <p:clrMapOvr>
    <a:masterClrMapping/>
  </p:clrMapOvr>
  <p:transition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D XY-Model: Analytic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65324" y="1454730"/>
            <a:ext cx="2331871" cy="523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e Hamiltonia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997194" y="2453980"/>
            <a:ext cx="8279827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A Jordan-Wigner transformation to a system of     spinless fermionic modes yields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sospectral</a:t>
            </a:r>
            <a:r>
              <a:rPr lang="en-US" sz="2000" noProof="0" dirty="0">
                <a:latin typeface="Bahnschrift SemiCondensed" panose="020B0502040204020203" pitchFamily="34" charset="0"/>
              </a:rPr>
              <a:t> fermionic tight-binding Hamiltonian</a:t>
            </a:r>
          </a:p>
        </p:txBody>
      </p:sp>
      <p:pic>
        <p:nvPicPr>
          <p:cNvPr id="5" name="Picture 4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5D0C2489-6C29-8A3E-0FB9-C91BA390C07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022" y="1478607"/>
            <a:ext cx="6875428" cy="350476"/>
          </a:xfrm>
          <a:prstGeom prst="rect">
            <a:avLst/>
          </a:prstGeom>
        </p:spPr>
      </p:pic>
      <p:sp>
        <p:nvSpPr>
          <p:cNvPr id="7" name="Untertitel 2 2 1 1 2">
            <a:extLst>
              <a:ext uri="{FF2B5EF4-FFF2-40B4-BE49-F238E27FC236}">
                <a16:creationId xmlns:a16="http://schemas.microsoft.com/office/drawing/2014/main" id="{46EC4C2E-6C61-02F6-AA5F-B6153AE65816}"/>
              </a:ext>
            </a:extLst>
          </p:cNvPr>
          <p:cNvSpPr txBox="1">
            <a:spLocks/>
          </p:cNvSpPr>
          <p:nvPr/>
        </p:nvSpPr>
        <p:spPr>
          <a:xfrm>
            <a:off x="665324" y="241867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pping to spinless ferm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&#10;$\mathcal{L}&#10;$&#10;&#10;\end{document}" title="IguanaTex Picture Display">
            <a:extLst>
              <a:ext uri="{FF2B5EF4-FFF2-40B4-BE49-F238E27FC236}">
                <a16:creationId xmlns:a16="http://schemas.microsoft.com/office/drawing/2014/main" id="{B9613A3E-BFCC-7F98-637E-712CBF978A3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213" y="2540000"/>
            <a:ext cx="158476" cy="184381"/>
          </a:xfrm>
          <a:prstGeom prst="rect">
            <a:avLst/>
          </a:prstGeom>
        </p:spPr>
      </p:pic>
      <p:pic>
        <p:nvPicPr>
          <p:cNvPr id="16" name="Picture 15" descr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 title="IguanaTex Picture Display">
            <a:extLst>
              <a:ext uri="{FF2B5EF4-FFF2-40B4-BE49-F238E27FC236}">
                <a16:creationId xmlns:a16="http://schemas.microsoft.com/office/drawing/2014/main" id="{F7D2B5F3-C451-41F0-6BA6-629AB8EEDA4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753" y="3356407"/>
            <a:ext cx="4685714" cy="330667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FAE7B0-CA96-3BFC-600B-F4BE202ABDAC}"/>
              </a:ext>
            </a:extLst>
          </p:cNvPr>
          <p:cNvCxnSpPr>
            <a:cxnSpLocks/>
          </p:cNvCxnSpPr>
          <p:nvPr/>
        </p:nvCxnSpPr>
        <p:spPr>
          <a:xfrm flipV="1">
            <a:off x="6720396" y="3613717"/>
            <a:ext cx="0" cy="2450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7DA233-4054-8AA8-76AC-3A88320B920C}"/>
              </a:ext>
            </a:extLst>
          </p:cNvPr>
          <p:cNvSpPr txBox="1"/>
          <p:nvPr/>
        </p:nvSpPr>
        <p:spPr>
          <a:xfrm>
            <a:off x="6316630" y="3793927"/>
            <a:ext cx="10383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0" dirty="0">
                <a:latin typeface="Bahnschrift SemiCondensed" panose="020B0502040204020203" pitchFamily="34" charset="0"/>
              </a:rPr>
              <a:t>diagonalize</a:t>
            </a:r>
            <a:endParaRPr lang="en-GB" sz="1400" dirty="0"/>
          </a:p>
        </p:txBody>
      </p:sp>
      <p:sp>
        <p:nvSpPr>
          <p:cNvPr id="22" name="Untertitel 2 5 1 1 1 1 2">
            <a:extLst>
              <a:ext uri="{FF2B5EF4-FFF2-40B4-BE49-F238E27FC236}">
                <a16:creationId xmlns:a16="http://schemas.microsoft.com/office/drawing/2014/main" id="{E58CD74E-7D98-F1B3-FB56-8E1379DD4530}"/>
              </a:ext>
            </a:extLst>
          </p:cNvPr>
          <p:cNvSpPr txBox="1">
            <a:spLocks/>
          </p:cNvSpPr>
          <p:nvPr/>
        </p:nvSpPr>
        <p:spPr>
          <a:xfrm>
            <a:off x="2997194" y="4179014"/>
            <a:ext cx="5907109" cy="586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ith single-particle eigenvalues/dispersion relation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 descr="\documentclass{article}&#10;\usepackage{amsmath}&#10;\pagestyle{empty}&#10;\begin{document}&#10;&#10;$&#10;\epsilon_k = J \cos\left( \frac{k \pi}{L + 1} \right)&#10;$&#10;&#10;\end{document}" title="IguanaTex Picture Display">
            <a:extLst>
              <a:ext uri="{FF2B5EF4-FFF2-40B4-BE49-F238E27FC236}">
                <a16:creationId xmlns:a16="http://schemas.microsoft.com/office/drawing/2014/main" id="{18920255-0808-79FC-3560-13F6F910C4D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894" y="4133186"/>
            <a:ext cx="1900374" cy="467280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AFC4EB39-457D-226E-9776-5F82FA835CA2}"/>
              </a:ext>
            </a:extLst>
          </p:cNvPr>
          <p:cNvSpPr txBox="1">
            <a:spLocks/>
          </p:cNvSpPr>
          <p:nvPr/>
        </p:nvSpPr>
        <p:spPr>
          <a:xfrm>
            <a:off x="762830" y="509240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artition func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">
            <a:extLst>
              <a:ext uri="{FF2B5EF4-FFF2-40B4-BE49-F238E27FC236}">
                <a16:creationId xmlns:a16="http://schemas.microsoft.com/office/drawing/2014/main" id="{48402550-519F-3F68-E443-0A81AA938AEE}"/>
              </a:ext>
            </a:extLst>
          </p:cNvPr>
          <p:cNvSpPr txBox="1">
            <a:spLocks/>
          </p:cNvSpPr>
          <p:nvPr/>
        </p:nvSpPr>
        <p:spPr>
          <a:xfrm>
            <a:off x="3027562" y="5110162"/>
            <a:ext cx="3435234" cy="4672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partition functio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factorizes</a:t>
            </a:r>
            <a:r>
              <a:rPr lang="en-US" sz="2000" dirty="0">
                <a:latin typeface="Bahnschrift SemiCondensed" panose="020B0502040204020203" pitchFamily="34" charset="0"/>
              </a:rPr>
              <a:t>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34" name="Picture 33" descr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 title="IguanaTex Picture Display">
            <a:extLst>
              <a:ext uri="{FF2B5EF4-FFF2-40B4-BE49-F238E27FC236}">
                <a16:creationId xmlns:a16="http://schemas.microsoft.com/office/drawing/2014/main" id="{BBC177BF-B210-B7AB-6D8A-B2AACC86B01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5674624"/>
            <a:ext cx="5123047" cy="338286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1EB301D-F244-52BA-B147-518D2C21B04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9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7" grpId="0"/>
      <p:bldP spid="21" grpId="0"/>
      <p:bldP spid="22" grpId="0"/>
      <p:bldP spid="30" grpId="0"/>
      <p:bldP spid="3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8CD97D-3546-8718-90CB-DDC3788D4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B4C38C-C5BE-61A2-E1B4-A59D609CAA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68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9" imgH="478" progId="TCLayout.ActiveDocument.1">
                  <p:embed/>
                </p:oleObj>
              </mc:Choice>
              <mc:Fallback>
                <p:oleObj name="think-cell Slide" r:id="rId1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graph of a function&#10;&#10;AI-generated content may be incorrect.">
            <a:extLst>
              <a:ext uri="{FF2B5EF4-FFF2-40B4-BE49-F238E27FC236}">
                <a16:creationId xmlns:a16="http://schemas.microsoft.com/office/drawing/2014/main" id="{D0592AB0-C22D-913E-FA4D-BDD6C15417C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3356" y="2523744"/>
            <a:ext cx="5724507" cy="3577817"/>
          </a:xfrm>
          <a:prstGeom prst="rect">
            <a:avLst/>
          </a:prstGeom>
        </p:spPr>
      </p:pic>
      <p:sp>
        <p:nvSpPr>
          <p:cNvPr id="2" name="Untertitel 2 1">
            <a:extLst>
              <a:ext uri="{FF2B5EF4-FFF2-40B4-BE49-F238E27FC236}">
                <a16:creationId xmlns:a16="http://schemas.microsoft.com/office/drawing/2014/main" id="{9D00EFCA-0E7A-73E4-F49D-B8DA66A5C8F4}"/>
              </a:ext>
            </a:extLst>
          </p:cNvPr>
          <p:cNvSpPr txBox="1">
            <a:spLocks/>
          </p:cNvSpPr>
          <p:nvPr/>
        </p:nvSpPr>
        <p:spPr>
          <a:xfrm>
            <a:off x="2810257" y="511702"/>
            <a:ext cx="7467599" cy="5876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09FDCB6E-F85E-26D6-C51C-A1B24CB5479B}"/>
              </a:ext>
            </a:extLst>
          </p:cNvPr>
          <p:cNvSpPr txBox="1">
            <a:spLocks/>
          </p:cNvSpPr>
          <p:nvPr/>
        </p:nvSpPr>
        <p:spPr>
          <a:xfrm>
            <a:off x="348332" y="124908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ethod and parameter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2BB7C36A-C143-5E70-FFCD-DBEA716E4CCD}"/>
              </a:ext>
            </a:extLst>
          </p:cNvPr>
          <p:cNvSpPr txBox="1">
            <a:spLocks/>
          </p:cNvSpPr>
          <p:nvPr/>
        </p:nvSpPr>
        <p:spPr>
          <a:xfrm>
            <a:off x="636601" y="5308329"/>
            <a:ext cx="1113472" cy="426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sul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1">
            <a:extLst>
              <a:ext uri="{FF2B5EF4-FFF2-40B4-BE49-F238E27FC236}">
                <a16:creationId xmlns:a16="http://schemas.microsoft.com/office/drawing/2014/main" id="{AC061E33-199F-4A65-9945-5DC54A19DA9D}"/>
              </a:ext>
            </a:extLst>
          </p:cNvPr>
          <p:cNvSpPr txBox="1">
            <a:spLocks/>
          </p:cNvSpPr>
          <p:nvPr/>
        </p:nvSpPr>
        <p:spPr>
          <a:xfrm>
            <a:off x="1878790" y="4365491"/>
            <a:ext cx="4689758" cy="248684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Our     values agree well with the analytical prediction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The tolerance check was passed up to the 20</a:t>
            </a:r>
            <a:r>
              <a:rPr lang="en-US" sz="2000" baseline="30000" noProof="0" dirty="0">
                <a:latin typeface="Bahnschrift SemiCondensed" panose="020B0502040204020203" pitchFamily="34" charset="0"/>
              </a:rPr>
              <a:t>th</a:t>
            </a:r>
            <a:r>
              <a:rPr lang="en-US" sz="2000" noProof="0" dirty="0">
                <a:latin typeface="Bahnschrift SemiCondensed" panose="020B0502040204020203" pitchFamily="34" charset="0"/>
              </a:rPr>
              <a:t> step - afterwards convergence checks become too costly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ithin</a:t>
            </a:r>
            <a:r>
              <a:rPr lang="en-US" sz="2000" noProof="0" dirty="0">
                <a:latin typeface="Bahnschrift SemiCondensed" panose="020B0502040204020203" pitchFamily="34" charset="0"/>
              </a:rPr>
              <a:t> the 28</a:t>
            </a:r>
            <a:r>
              <a:rPr lang="en-US" sz="2000" baseline="30000" dirty="0">
                <a:latin typeface="Bahnschrift SemiCondensed" panose="020B0502040204020203" pitchFamily="34" charset="0"/>
              </a:rPr>
              <a:t>th</a:t>
            </a:r>
            <a:r>
              <a:rPr lang="en-US" sz="2000" dirty="0">
                <a:latin typeface="Bahnschrift SemiCondensed" panose="020B0502040204020203" pitchFamily="34" charset="0"/>
              </a:rPr>
              <a:t> step, </a:t>
            </a:r>
            <a:r>
              <a:rPr lang="en-US" sz="2000" noProof="0" dirty="0">
                <a:latin typeface="Bahnschrift SemiCondensed" panose="020B0502040204020203" pitchFamily="34" charset="0"/>
              </a:rPr>
              <a:t>the value of the partition function exceeds the maximal representable float in double precision</a:t>
            </a:r>
          </a:p>
        </p:txBody>
      </p:sp>
      <p:sp>
        <p:nvSpPr>
          <p:cNvPr id="3" name="Untertitel 2 5 1 1 1 1 2 2 1">
            <a:extLst>
              <a:ext uri="{FF2B5EF4-FFF2-40B4-BE49-F238E27FC236}">
                <a16:creationId xmlns:a16="http://schemas.microsoft.com/office/drawing/2014/main" id="{DC9182E2-F91A-91AF-E2C7-98433360AB1E}"/>
              </a:ext>
            </a:extLst>
          </p:cNvPr>
          <p:cNvSpPr txBox="1">
            <a:spLocks/>
          </p:cNvSpPr>
          <p:nvPr/>
        </p:nvSpPr>
        <p:spPr>
          <a:xfrm>
            <a:off x="2028608" y="1284598"/>
            <a:ext cx="9030148" cy="968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ran our XTRG algorithm code for              sites, with initial                    , for up to 27 steps, i.e., up to                                and computed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partition func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for all    ‘s</a:t>
            </a:r>
          </a:p>
        </p:txBody>
      </p:sp>
      <p:pic>
        <p:nvPicPr>
          <p:cNvPr id="12" name="Picture 11" descr="\documentclass{article}&#10;\usepackage{amsmath}&#10;\pagestyle{empty}&#10;\begin{document}&#10;&#10;$\mathcal{L} = 10$&#10;&#10;&#10;\end{document}" title="IguanaTex Picture Display">
            <a:extLst>
              <a:ext uri="{FF2B5EF4-FFF2-40B4-BE49-F238E27FC236}">
                <a16:creationId xmlns:a16="http://schemas.microsoft.com/office/drawing/2014/main" id="{017BA8B8-6CA5-BE04-1AF7-6F2335B7264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469" y="1371986"/>
            <a:ext cx="748190" cy="184381"/>
          </a:xfrm>
          <a:prstGeom prst="rect">
            <a:avLst/>
          </a:prstGeom>
        </p:spPr>
      </p:pic>
      <p:pic>
        <p:nvPicPr>
          <p:cNvPr id="14" name="Picture 13" descr="\documentclass{article}&#10;\usepackage{amsmath}&#10;\pagestyle{empty}&#10;\begin{document}&#10;&#10;$\beta_0 = 10^{-6}$&#10;&#10;&#10;\end{document}" title="IguanaTex Picture Display">
            <a:extLst>
              <a:ext uri="{FF2B5EF4-FFF2-40B4-BE49-F238E27FC236}">
                <a16:creationId xmlns:a16="http://schemas.microsoft.com/office/drawing/2014/main" id="{1CBF30B2-5B30-67A9-AD25-4225B2123C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6" y="1316599"/>
            <a:ext cx="1091048" cy="257524"/>
          </a:xfrm>
          <a:prstGeom prst="rect">
            <a:avLst/>
          </a:prstGeom>
        </p:spPr>
      </p:pic>
      <p:pic>
        <p:nvPicPr>
          <p:cNvPr id="26" name="Picture 25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8E6C3D99-2BF3-CBA1-D146-EC49584935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1037" y="1633142"/>
            <a:ext cx="169143" cy="172190"/>
          </a:xfrm>
          <a:prstGeom prst="rect">
            <a:avLst/>
          </a:prstGeom>
        </p:spPr>
      </p:pic>
      <p:pic>
        <p:nvPicPr>
          <p:cNvPr id="32" name="Picture 31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715B0C88-FB34-6107-4A3D-3B9048BEB2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3202" y="1640703"/>
            <a:ext cx="140190" cy="228571"/>
          </a:xfrm>
          <a:prstGeom prst="rect">
            <a:avLst/>
          </a:prstGeom>
        </p:spPr>
      </p:pic>
      <p:sp>
        <p:nvSpPr>
          <p:cNvPr id="33" name="Untertitel 2 2 1 1 1 2">
            <a:extLst>
              <a:ext uri="{FF2B5EF4-FFF2-40B4-BE49-F238E27FC236}">
                <a16:creationId xmlns:a16="http://schemas.microsoft.com/office/drawing/2014/main" id="{405C3988-1E35-0F4F-2B63-0AD55FE35DDF}"/>
              </a:ext>
            </a:extLst>
          </p:cNvPr>
          <p:cNvSpPr txBox="1">
            <a:spLocks/>
          </p:cNvSpPr>
          <p:nvPr/>
        </p:nvSpPr>
        <p:spPr>
          <a:xfrm>
            <a:off x="476250" y="2847938"/>
            <a:ext cx="2033489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chnical detail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Untertitel 2 5 1 1 1 1 2 2 2">
            <a:extLst>
              <a:ext uri="{FF2B5EF4-FFF2-40B4-BE49-F238E27FC236}">
                <a16:creationId xmlns:a16="http://schemas.microsoft.com/office/drawing/2014/main" id="{6C1889C8-42D9-FF4E-581F-4A1623D9BC0F}"/>
              </a:ext>
            </a:extLst>
          </p:cNvPr>
          <p:cNvSpPr txBox="1">
            <a:spLocks/>
          </p:cNvSpPr>
          <p:nvPr/>
        </p:nvSpPr>
        <p:spPr>
          <a:xfrm>
            <a:off x="1878790" y="2172634"/>
            <a:ext cx="3749727" cy="20298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Bond dim</a:t>
            </a:r>
            <a:r>
              <a:rPr lang="en-US" sz="2000" dirty="0">
                <a:latin typeface="Bahnschrift SemiCondensed" panose="020B0502040204020203" pitchFamily="34" charset="0"/>
              </a:rPr>
              <a:t>ension scaling</a:t>
            </a:r>
            <a:r>
              <a:rPr lang="en-US" sz="2000" noProof="0" dirty="0">
                <a:latin typeface="Bahnschrift SemiCondensed" panose="020B0502040204020203" pitchFamily="34" charset="0"/>
              </a:rPr>
              <a:t>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ax bond dimensio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# </a:t>
            </a:r>
            <a:r>
              <a:rPr lang="en-US" sz="2000" dirty="0">
                <a:latin typeface="Bahnschrift SemiCondensed" panose="020B0502040204020203" pitchFamily="34" charset="0"/>
              </a:rPr>
              <a:t>s</a:t>
            </a:r>
            <a:r>
              <a:rPr lang="en-US" sz="2000" noProof="0" dirty="0">
                <a:latin typeface="Bahnschrift SemiCondensed" panose="020B0502040204020203" pitchFamily="34" charset="0"/>
              </a:rPr>
              <a:t>weep</a:t>
            </a:r>
            <a:r>
              <a:rPr lang="en-US" sz="2000" dirty="0">
                <a:latin typeface="Bahnschrift SemiCondensed" panose="020B0502040204020203" pitchFamily="34" charset="0"/>
              </a:rPr>
              <a:t>s along chai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Initialization:           outperform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Norm error tolerance: </a:t>
            </a:r>
          </a:p>
        </p:txBody>
      </p:sp>
      <p:pic>
        <p:nvPicPr>
          <p:cNvPr id="39" name="Picture 38" descr="\documentclass{article}&#10;\usepackage{amsmath}&#10;\pagestyle{empty}&#10;\begin{document}&#10;&#10;&#10;$\frac{D_n}{D_{n - 1}} \leq \alpha = 1.5$&#10;&#10;\end{document}" title="IguanaTex Picture Display">
            <a:extLst>
              <a:ext uri="{FF2B5EF4-FFF2-40B4-BE49-F238E27FC236}">
                <a16:creationId xmlns:a16="http://schemas.microsoft.com/office/drawing/2014/main" id="{A0860550-650D-6DA2-D769-4F270D2C426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960" y="2196501"/>
            <a:ext cx="1691429" cy="338286"/>
          </a:xfrm>
          <a:prstGeom prst="rect">
            <a:avLst/>
          </a:prstGeom>
        </p:spPr>
      </p:pic>
      <p:pic>
        <p:nvPicPr>
          <p:cNvPr id="41" name="Picture 40" descr="\documentclass{article}&#10;\usepackage{amsmath}&#10;\pagestyle{empty}&#10;\begin{document}&#10;&#10;&#10;$D_n \leq D_{\text{max}} =75$&#10;&#10;\end{document}" title="IguanaTex Picture Display">
            <a:extLst>
              <a:ext uri="{FF2B5EF4-FFF2-40B4-BE49-F238E27FC236}">
                <a16:creationId xmlns:a16="http://schemas.microsoft.com/office/drawing/2014/main" id="{77F18DA1-6AE3-133C-F860-7F405F1E163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690" y="2675859"/>
            <a:ext cx="1848381" cy="211810"/>
          </a:xfrm>
          <a:prstGeom prst="rect">
            <a:avLst/>
          </a:prstGeom>
        </p:spPr>
      </p:pic>
      <p:pic>
        <p:nvPicPr>
          <p:cNvPr id="45" name="Picture 44" descr="\documentclass{article}&#10;\usepackage{amsmath}&#10;\pagestyle{empty}&#10;\begin{document}&#10;&#10;$\rho_{n - 1}^2$&#10;&#10;\end{document}" title="IguanaTex Picture Display">
            <a:extLst>
              <a:ext uri="{FF2B5EF4-FFF2-40B4-BE49-F238E27FC236}">
                <a16:creationId xmlns:a16="http://schemas.microsoft.com/office/drawing/2014/main" id="{0F066229-5EB0-D740-1701-67309EB77CE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984" y="3378299"/>
            <a:ext cx="492190" cy="272762"/>
          </a:xfrm>
          <a:prstGeom prst="rect">
            <a:avLst/>
          </a:prstGeom>
        </p:spPr>
      </p:pic>
      <p:pic>
        <p:nvPicPr>
          <p:cNvPr id="48" name="Picture 47" descr="\documentclass{article}&#10;\usepackage{amsmath}&#10;\pagestyle{empty}&#10;\begin{document}&#10;&#10;$\rho_{n - 1}$&#10;&#10;\end{document}" title="IguanaTex Picture Display">
            <a:extLst>
              <a:ext uri="{FF2B5EF4-FFF2-40B4-BE49-F238E27FC236}">
                <a16:creationId xmlns:a16="http://schemas.microsoft.com/office/drawing/2014/main" id="{5BAEC4A8-E50E-B796-A324-534840CC04A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947" y="3485900"/>
            <a:ext cx="492190" cy="166095"/>
          </a:xfrm>
          <a:prstGeom prst="rect">
            <a:avLst/>
          </a:prstGeom>
        </p:spPr>
      </p:pic>
      <p:pic>
        <p:nvPicPr>
          <p:cNvPr id="50" name="Picture 49" descr="\documentclass{article}&#10;\usepackage{amsmath}&#10;\pagestyle{empty}&#10;\begin{document}&#10;&#10;&#10;$10^{-8}$&#10;&#10;\end{document}" title="IguanaTex Picture Display">
            <a:extLst>
              <a:ext uri="{FF2B5EF4-FFF2-40B4-BE49-F238E27FC236}">
                <a16:creationId xmlns:a16="http://schemas.microsoft.com/office/drawing/2014/main" id="{962B3600-75C5-6CB8-1ACA-50E8A80D131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683" y="3815992"/>
            <a:ext cx="481524" cy="214857"/>
          </a:xfrm>
          <a:prstGeom prst="rect">
            <a:avLst/>
          </a:prstGeom>
        </p:spPr>
      </p:pic>
      <p:pic>
        <p:nvPicPr>
          <p:cNvPr id="51" name="Picture 50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D3522191-91A6-780B-37A9-83A6D527204C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241" y="4426444"/>
            <a:ext cx="169143" cy="17219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C4ECFAD-5F80-0F81-0DE6-F9233DB978C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N_{\text{sweeps}} = 2 \times 5&#10;$&#10;&#10;\end{document}" title="IguanaTex Bitmap Display">
            <a:extLst>
              <a:ext uri="{FF2B5EF4-FFF2-40B4-BE49-F238E27FC236}">
                <a16:creationId xmlns:a16="http://schemas.microsoft.com/office/drawing/2014/main" id="{7F0F03FA-D527-9058-D3AB-3422B5B0CAE6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198" y="3067683"/>
            <a:ext cx="1685333" cy="245333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\beta = 2^{27} \beta_0 \approx 130&#10;$&#10;&#10;\end{document}" title="IguanaTex Bitmap Display">
            <a:extLst>
              <a:ext uri="{FF2B5EF4-FFF2-40B4-BE49-F238E27FC236}">
                <a16:creationId xmlns:a16="http://schemas.microsoft.com/office/drawing/2014/main" id="{65B93AF5-3033-0895-0D7B-A1A981FCCD29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043" y="1602303"/>
            <a:ext cx="1792000" cy="260571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&lt;10^{-8}&#10;$&#10;&#10;\end{document}" title="IguanaTex Bitmap Display">
            <a:extLst>
              <a:ext uri="{FF2B5EF4-FFF2-40B4-BE49-F238E27FC236}">
                <a16:creationId xmlns:a16="http://schemas.microsoft.com/office/drawing/2014/main" id="{29D81A6C-F5EE-8282-8819-F1D2391BE736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7981" y="5537521"/>
            <a:ext cx="245183" cy="7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865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0" grpId="0"/>
      <p:bldP spid="31" grpId="0"/>
      <p:bldP spid="3" grpId="0"/>
      <p:bldP spid="33" grpId="0"/>
      <p:bldP spid="3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CF4B2-05A1-649B-35AF-A86E12636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2DEA43-FB69-D31C-2302-D508F9E1E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D4EC8B92-528B-D324-318F-30A1A7332C35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mooth B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ehavior of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ngular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Valu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655EF046-7F48-FB8D-2F89-0B184DC93039}"/>
              </a:ext>
            </a:extLst>
          </p:cNvPr>
          <p:cNvSpPr txBox="1">
            <a:spLocks/>
          </p:cNvSpPr>
          <p:nvPr/>
        </p:nvSpPr>
        <p:spPr>
          <a:xfrm>
            <a:off x="570685" y="1374557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ere we do SV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">
            <a:extLst>
              <a:ext uri="{FF2B5EF4-FFF2-40B4-BE49-F238E27FC236}">
                <a16:creationId xmlns:a16="http://schemas.microsoft.com/office/drawing/2014/main" id="{69C49384-6720-7490-398E-23C1BE2FB7E7}"/>
              </a:ext>
            </a:extLst>
          </p:cNvPr>
          <p:cNvSpPr txBox="1">
            <a:spLocks/>
          </p:cNvSpPr>
          <p:nvPr/>
        </p:nvSpPr>
        <p:spPr>
          <a:xfrm>
            <a:off x="2243963" y="1440611"/>
            <a:ext cx="8912756" cy="8125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Each two-site update yields an optimized value for the </a:t>
            </a:r>
            <a:r>
              <a:rPr lang="en-US" sz="2000" b="1" dirty="0">
                <a:latin typeface="Bahnschrift SemiCondensed" panose="020B0502040204020203" pitchFamily="34" charset="0"/>
              </a:rPr>
              <a:t>contraction </a:t>
            </a:r>
            <a:r>
              <a:rPr lang="en-US" sz="2000" dirty="0">
                <a:latin typeface="Bahnschrift SemiCondensed" panose="020B0502040204020203" pitchFamily="34" charset="0"/>
              </a:rPr>
              <a:t>             , but not the two single tensors. These must be separated after the optimization, using SVD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0" name="Picture 9" descr="\documentclass{article}&#10;\usepackage{amsmath}&#10;\pagestyle{empty}&#10;\begin{document}&#10;&#10;&#10;$C_l C_{l + 1&#10;}$&#10;&#10;\end{document}" title="IguanaTex Picture Display">
            <a:extLst>
              <a:ext uri="{FF2B5EF4-FFF2-40B4-BE49-F238E27FC236}">
                <a16:creationId xmlns:a16="http://schemas.microsoft.com/office/drawing/2014/main" id="{FF5D1888-36B3-916A-7478-8670FFA2A5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9997" y="1502757"/>
            <a:ext cx="731428" cy="237714"/>
          </a:xfrm>
          <a:prstGeom prst="rect">
            <a:avLst/>
          </a:prstGeom>
        </p:spPr>
      </p:pic>
      <p:sp>
        <p:nvSpPr>
          <p:cNvPr id="12" name="Untertitel 2 2 1 1 1">
            <a:extLst>
              <a:ext uri="{FF2B5EF4-FFF2-40B4-BE49-F238E27FC236}">
                <a16:creationId xmlns:a16="http://schemas.microsoft.com/office/drawing/2014/main" id="{4D2696BB-0058-FE31-3963-44400FC1F22C}"/>
              </a:ext>
            </a:extLst>
          </p:cNvPr>
          <p:cNvSpPr txBox="1">
            <a:spLocks/>
          </p:cNvSpPr>
          <p:nvPr/>
        </p:nvSpPr>
        <p:spPr>
          <a:xfrm>
            <a:off x="570685" y="3174269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ingular value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Untertitel 2 2 1 1 1">
            <a:extLst>
              <a:ext uri="{FF2B5EF4-FFF2-40B4-BE49-F238E27FC236}">
                <a16:creationId xmlns:a16="http://schemas.microsoft.com/office/drawing/2014/main" id="{0B89A8DE-7A56-EAAA-E31A-C0FA013A15D0}"/>
              </a:ext>
            </a:extLst>
          </p:cNvPr>
          <p:cNvSpPr txBox="1">
            <a:spLocks/>
          </p:cNvSpPr>
          <p:nvPr/>
        </p:nvSpPr>
        <p:spPr>
          <a:xfrm>
            <a:off x="556280" y="5177711"/>
            <a:ext cx="1598481" cy="1125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interesting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Untertitel 2 5 1 1 1 1 2">
            <a:extLst>
              <a:ext uri="{FF2B5EF4-FFF2-40B4-BE49-F238E27FC236}">
                <a16:creationId xmlns:a16="http://schemas.microsoft.com/office/drawing/2014/main" id="{1F0D1C8D-2761-DA6A-7C25-5EF196FEB404}"/>
              </a:ext>
            </a:extLst>
          </p:cNvPr>
          <p:cNvSpPr txBox="1">
            <a:spLocks/>
          </p:cNvSpPr>
          <p:nvPr/>
        </p:nvSpPr>
        <p:spPr>
          <a:xfrm>
            <a:off x="2243963" y="2604537"/>
            <a:ext cx="3766273" cy="2154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ne (JvD) would expect these singular values to change </a:t>
            </a:r>
            <a:r>
              <a:rPr lang="en-US" sz="2000" b="1" dirty="0">
                <a:latin typeface="Bahnschrift SemiCondensed" panose="020B0502040204020203" pitchFamily="34" charset="0"/>
              </a:rPr>
              <a:t>smoothly </a:t>
            </a:r>
            <a:r>
              <a:rPr lang="en-US" sz="2000" dirty="0">
                <a:latin typeface="Bahnschrift SemiCondensed" panose="020B0502040204020203" pitchFamily="34" charset="0"/>
              </a:rPr>
              <a:t>as     is varied. We checked that this is indeed the case! Also, we observe that some of the singular values become degenerate when reaching the ground state configuration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019A83AE-3C45-674B-9D53-45EF824028D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4399" y="3247618"/>
            <a:ext cx="140190" cy="228571"/>
          </a:xfrm>
          <a:prstGeom prst="rect">
            <a:avLst/>
          </a:prstGeom>
        </p:spPr>
      </p:pic>
      <p:sp>
        <p:nvSpPr>
          <p:cNvPr id="19" name="Untertitel 2 5 1 1 1 1 2">
            <a:extLst>
              <a:ext uri="{FF2B5EF4-FFF2-40B4-BE49-F238E27FC236}">
                <a16:creationId xmlns:a16="http://schemas.microsoft.com/office/drawing/2014/main" id="{63BB7132-03EE-2C34-7473-E0C8EAF9683B}"/>
              </a:ext>
            </a:extLst>
          </p:cNvPr>
          <p:cNvSpPr txBox="1">
            <a:spLocks/>
          </p:cNvSpPr>
          <p:nvPr/>
        </p:nvSpPr>
        <p:spPr>
          <a:xfrm>
            <a:off x="2243963" y="4919577"/>
            <a:ext cx="3364212" cy="1596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By </a:t>
            </a:r>
            <a:r>
              <a:rPr lang="en-US" sz="2000" b="1" dirty="0">
                <a:latin typeface="Bahnschrift SemiCondensed" panose="020B0502040204020203" pitchFamily="34" charset="0"/>
              </a:rPr>
              <a:t>extrapolating </a:t>
            </a:r>
            <a:r>
              <a:rPr lang="en-US" sz="2000" dirty="0">
                <a:latin typeface="Bahnschrift SemiCondensed" panose="020B0502040204020203" pitchFamily="34" charset="0"/>
              </a:rPr>
              <a:t>singular values of                  from those of previous    ‘s, one could try to improve the </a:t>
            </a:r>
            <a:r>
              <a:rPr lang="en-US" sz="2000" b="1" dirty="0">
                <a:latin typeface="Bahnschrift SemiCondensed" panose="020B0502040204020203" pitchFamily="34" charset="0"/>
              </a:rPr>
              <a:t>initialization </a:t>
            </a:r>
            <a:r>
              <a:rPr lang="en-US" sz="2000" dirty="0">
                <a:latin typeface="Bahnschrift SemiCondensed" panose="020B0502040204020203" pitchFamily="34" charset="0"/>
              </a:rPr>
              <a:t>of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t the XTRG updat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5" name="Picture 2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CACA8571-6DDE-1F74-4AA6-DFDC8F6BB5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460" y="5560547"/>
            <a:ext cx="140190" cy="228571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326E756-D6A1-7FCB-F006-2AA7F5559237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\{C_l C_{l+1}\}&#10;$&#10;&#10;\end{document}" title="IguanaTex Bitmap Display">
            <a:extLst>
              <a:ext uri="{FF2B5EF4-FFF2-40B4-BE49-F238E27FC236}">
                <a16:creationId xmlns:a16="http://schemas.microsoft.com/office/drawing/2014/main" id="{C004A82F-EE47-D0C3-F6A0-6F5FC958088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855" y="5253835"/>
            <a:ext cx="990476" cy="254476"/>
          </a:xfrm>
          <a:prstGeom prst="rect">
            <a:avLst/>
          </a:prstGeom>
        </p:spPr>
      </p:pic>
      <p:pic>
        <p:nvPicPr>
          <p:cNvPr id="8" name="Picture 7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D9950F2F-2D5C-37E5-4791-8839704004E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0236" y="2443641"/>
            <a:ext cx="5935214" cy="370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9487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12" grpId="0"/>
      <p:bldP spid="13" grpId="0"/>
      <p:bldP spid="14" grpId="0"/>
      <p:bldP spid="1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E88E3-FA70-E9F3-9A81-11940A2C4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BD0508-C3F2-6B18-1EE1-D87C3F370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DEA43-FB69-D31C-2302-D508F9E1E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7A24C582-212D-43C5-BD79-ED5EA0BB5674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w-Temperature Bottlenec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76AED4AD-5EBE-E239-D4AD-BB1F9C7C968B}"/>
              </a:ext>
            </a:extLst>
          </p:cNvPr>
          <p:cNvSpPr txBox="1">
            <a:spLocks/>
          </p:cNvSpPr>
          <p:nvPr/>
        </p:nvSpPr>
        <p:spPr>
          <a:xfrm>
            <a:off x="665325" y="1529528"/>
            <a:ext cx="1376540" cy="424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alleng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 1">
            <a:extLst>
              <a:ext uri="{FF2B5EF4-FFF2-40B4-BE49-F238E27FC236}">
                <a16:creationId xmlns:a16="http://schemas.microsoft.com/office/drawing/2014/main" id="{636C2F8C-CA62-77EF-FA6E-207517C70F77}"/>
              </a:ext>
            </a:extLst>
          </p:cNvPr>
          <p:cNvSpPr txBox="1">
            <a:spLocks/>
          </p:cNvSpPr>
          <p:nvPr/>
        </p:nvSpPr>
        <p:spPr>
          <a:xfrm>
            <a:off x="2405635" y="5089819"/>
            <a:ext cx="8744718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How can we verify convergence of the XTRG update with respect to the previous step in the low-temperature regime? This would be required to assess the quality of computation results for models where no analytical solution is known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6" name="Untertitel 2 2 1 1 1 2">
            <a:extLst>
              <a:ext uri="{FF2B5EF4-FFF2-40B4-BE49-F238E27FC236}">
                <a16:creationId xmlns:a16="http://schemas.microsoft.com/office/drawing/2014/main" id="{62A1A5CE-A5A8-1D6A-511C-2A03C1DE024F}"/>
              </a:ext>
            </a:extLst>
          </p:cNvPr>
          <p:cNvSpPr txBox="1">
            <a:spLocks/>
          </p:cNvSpPr>
          <p:nvPr/>
        </p:nvSpPr>
        <p:spPr>
          <a:xfrm>
            <a:off x="665325" y="2511802"/>
            <a:ext cx="1505220" cy="1011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Qualitative estimat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5 1 1 1 1 2 2">
            <a:extLst>
              <a:ext uri="{FF2B5EF4-FFF2-40B4-BE49-F238E27FC236}">
                <a16:creationId xmlns:a16="http://schemas.microsoft.com/office/drawing/2014/main" id="{65B3A170-C4EC-B5C0-77A4-3C8986974308}"/>
              </a:ext>
            </a:extLst>
          </p:cNvPr>
          <p:cNvSpPr txBox="1">
            <a:spLocks/>
          </p:cNvSpPr>
          <p:nvPr/>
        </p:nvSpPr>
        <p:spPr>
          <a:xfrm>
            <a:off x="2386281" y="2482238"/>
            <a:ext cx="8797346" cy="848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Low bond dimensions should suffic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t least </a:t>
            </a:r>
            <a:r>
              <a:rPr lang="en-US" sz="2000" noProof="0" dirty="0">
                <a:latin typeface="Bahnschrift SemiCondensed" panose="020B0502040204020203" pitchFamily="34" charset="0"/>
              </a:rPr>
              <a:t>as long as            is close to identity, i.e.,</a:t>
            </a:r>
          </a:p>
        </p:txBody>
      </p:sp>
      <p:pic>
        <p:nvPicPr>
          <p:cNvPr id="16" name="Picture 15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3597A275-160E-2870-33A7-96C47FA73C7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7699" y="2484606"/>
            <a:ext cx="559238" cy="263619"/>
          </a:xfrm>
          <a:prstGeom prst="rect">
            <a:avLst/>
          </a:prstGeom>
        </p:spPr>
      </p:pic>
      <p:pic>
        <p:nvPicPr>
          <p:cNvPr id="34" name="Picture 33" descr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 title="IguanaTex Picture Display">
            <a:extLst>
              <a:ext uri="{FF2B5EF4-FFF2-40B4-BE49-F238E27FC236}">
                <a16:creationId xmlns:a16="http://schemas.microsoft.com/office/drawing/2014/main" id="{6A602F0D-95AF-01C3-91C9-98938370E8F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5766" y="2923162"/>
            <a:ext cx="7340187" cy="333714"/>
          </a:xfrm>
          <a:prstGeom prst="rect">
            <a:avLst/>
          </a:prstGeom>
        </p:spPr>
      </p:pic>
      <p:sp>
        <p:nvSpPr>
          <p:cNvPr id="35" name="Untertitel 2 2 1 1 1 2">
            <a:extLst>
              <a:ext uri="{FF2B5EF4-FFF2-40B4-BE49-F238E27FC236}">
                <a16:creationId xmlns:a16="http://schemas.microsoft.com/office/drawing/2014/main" id="{C04D1C2A-B307-5E3B-2870-4FBE43D1ECF4}"/>
              </a:ext>
            </a:extLst>
          </p:cNvPr>
          <p:cNvSpPr txBox="1">
            <a:spLocks/>
          </p:cNvSpPr>
          <p:nvPr/>
        </p:nvSpPr>
        <p:spPr>
          <a:xfrm>
            <a:off x="534606" y="3884069"/>
            <a:ext cx="1766657" cy="5320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bservat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Untertitel 2 5 1 1 1 1 2 1">
            <a:extLst>
              <a:ext uri="{FF2B5EF4-FFF2-40B4-BE49-F238E27FC236}">
                <a16:creationId xmlns:a16="http://schemas.microsoft.com/office/drawing/2014/main" id="{51D1BD68-73A5-3237-C5C9-982970DCA416}"/>
              </a:ext>
            </a:extLst>
          </p:cNvPr>
          <p:cNvSpPr txBox="1">
            <a:spLocks/>
          </p:cNvSpPr>
          <p:nvPr/>
        </p:nvSpPr>
        <p:spPr>
          <a:xfrm>
            <a:off x="2431982" y="3632627"/>
            <a:ext cx="8839494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could push the numerics up to </a:t>
            </a:r>
            <a:r>
              <a:rPr lang="en-US" sz="2000" dirty="0">
                <a:latin typeface="Bahnschrift SemiCondensed" panose="020B0502040204020203" pitchFamily="34" charset="0"/>
              </a:rPr>
              <a:t>27 steps        Order of runtime = 1 min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ever, the check of convergence in the Frobenius norm becomes too costly at around step 23, but the results still coincide with the analytical prediction.</a:t>
            </a:r>
          </a:p>
        </p:txBody>
      </p:sp>
      <p:sp>
        <p:nvSpPr>
          <p:cNvPr id="8" name="Untertitel 2 5 1 1 1 1 2 1">
            <a:extLst>
              <a:ext uri="{FF2B5EF4-FFF2-40B4-BE49-F238E27FC236}">
                <a16:creationId xmlns:a16="http://schemas.microsoft.com/office/drawing/2014/main" id="{B3CAB18E-4CB4-A9ED-1D00-08ED7C3A89E9}"/>
              </a:ext>
            </a:extLst>
          </p:cNvPr>
          <p:cNvSpPr txBox="1">
            <a:spLocks/>
          </p:cNvSpPr>
          <p:nvPr/>
        </p:nvSpPr>
        <p:spPr>
          <a:xfrm>
            <a:off x="7126156" y="3632628"/>
            <a:ext cx="290479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389311D-4B82-E119-9684-13535FBC4F9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14" name="Picture 13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68EC9C76-1841-7D14-FCCD-8A1DE6AF7BF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729" y="3760783"/>
            <a:ext cx="225524" cy="132571"/>
          </a:xfrm>
          <a:prstGeom prst="rect">
            <a:avLst/>
          </a:prstGeom>
        </p:spPr>
      </p:pic>
      <p:sp>
        <p:nvSpPr>
          <p:cNvPr id="15" name="Untertitel 2 2 1 1 1 2">
            <a:extLst>
              <a:ext uri="{FF2B5EF4-FFF2-40B4-BE49-F238E27FC236}">
                <a16:creationId xmlns:a16="http://schemas.microsoft.com/office/drawing/2014/main" id="{3C35DB2B-A3EC-5B09-D5F6-028238B10C62}"/>
              </a:ext>
            </a:extLst>
          </p:cNvPr>
          <p:cNvSpPr txBox="1">
            <a:spLocks/>
          </p:cNvSpPr>
          <p:nvPr/>
        </p:nvSpPr>
        <p:spPr>
          <a:xfrm>
            <a:off x="859288" y="5138652"/>
            <a:ext cx="1766657" cy="9254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pen Ques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5 1 1 1 1 2 1">
            <a:extLst>
              <a:ext uri="{FF2B5EF4-FFF2-40B4-BE49-F238E27FC236}">
                <a16:creationId xmlns:a16="http://schemas.microsoft.com/office/drawing/2014/main" id="{D9EAF81D-264B-45E9-675B-6E667ED44618}"/>
              </a:ext>
            </a:extLst>
          </p:cNvPr>
          <p:cNvSpPr txBox="1">
            <a:spLocks/>
          </p:cNvSpPr>
          <p:nvPr/>
        </p:nvSpPr>
        <p:spPr>
          <a:xfrm>
            <a:off x="2326725" y="4963004"/>
            <a:ext cx="8388269" cy="7125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9" name="Picture 8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06DBE656-5416-E291-1B9D-76912AAFFF8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2436" y="1416976"/>
            <a:ext cx="2847999" cy="324571"/>
          </a:xfrm>
          <a:prstGeom prst="rect">
            <a:avLst/>
          </a:prstGeom>
        </p:spPr>
      </p:pic>
      <p:sp>
        <p:nvSpPr>
          <p:cNvPr id="10" name="Untertitel 2 5 1 1 1 1 2 1">
            <a:extLst>
              <a:ext uri="{FF2B5EF4-FFF2-40B4-BE49-F238E27FC236}">
                <a16:creationId xmlns:a16="http://schemas.microsoft.com/office/drawing/2014/main" id="{ACAFADF0-36D8-7DC1-A559-D1375F4B15BC}"/>
              </a:ext>
            </a:extLst>
          </p:cNvPr>
          <p:cNvSpPr txBox="1">
            <a:spLocks/>
          </p:cNvSpPr>
          <p:nvPr/>
        </p:nvSpPr>
        <p:spPr>
          <a:xfrm>
            <a:off x="2365207" y="1416976"/>
            <a:ext cx="8839494" cy="9235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evaluation of                                                   becomes numerically intractable when the bond dimension of 	  increases exponentially in the low temperature regime.</a:t>
            </a:r>
          </a:p>
        </p:txBody>
      </p:sp>
      <p:pic>
        <p:nvPicPr>
          <p:cNvPr id="13" name="Picture 12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005ECBF4-ADCC-967C-E925-EBF8109728A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508" y="1698189"/>
            <a:ext cx="559238" cy="263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07105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35" grpId="0"/>
      <p:bldP spid="36" grpId="0"/>
      <p:bldP spid="8" grpId="0"/>
      <p:bldP spid="15" grpId="0"/>
      <p:bldP spid="17" grpId="0"/>
      <p:bldP spid="10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63F4B-28CB-F38F-1FD8-E73629A62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8C2254-0414-959F-C426-AA4F65FF9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BD0508-C3F2-6B18-1EE1-D87C3F37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34325158-F8F2-27B1-D3DB-54E00FB55400}"/>
              </a:ext>
            </a:extLst>
          </p:cNvPr>
          <p:cNvSpPr txBox="1">
            <a:spLocks/>
          </p:cNvSpPr>
          <p:nvPr/>
        </p:nvSpPr>
        <p:spPr>
          <a:xfrm>
            <a:off x="2585893" y="555977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ummary and Conclus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Untertitel 2 5 1 1 1 1 2 1 1">
            <a:extLst>
              <a:ext uri="{FF2B5EF4-FFF2-40B4-BE49-F238E27FC236}">
                <a16:creationId xmlns:a16="http://schemas.microsoft.com/office/drawing/2014/main" id="{EC192CD3-A5AA-B948-357C-5757393B757A}"/>
              </a:ext>
            </a:extLst>
          </p:cNvPr>
          <p:cNvSpPr txBox="1">
            <a:spLocks/>
          </p:cNvSpPr>
          <p:nvPr/>
        </p:nvSpPr>
        <p:spPr>
          <a:xfrm>
            <a:off x="642854" y="1556338"/>
            <a:ext cx="5453146" cy="9569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implemented the XTRG algorithm (               ) to compute the partition function of the 1D XY-Model at various inverse temperatures</a:t>
            </a:r>
          </a:p>
        </p:txBody>
      </p:sp>
      <p:sp>
        <p:nvSpPr>
          <p:cNvPr id="9" name="Untertitel 2 1 3">
            <a:extLst>
              <a:ext uri="{FF2B5EF4-FFF2-40B4-BE49-F238E27FC236}">
                <a16:creationId xmlns:a16="http://schemas.microsoft.com/office/drawing/2014/main" id="{E665D5A2-1904-C71F-862B-083905CC1B22}"/>
              </a:ext>
            </a:extLst>
          </p:cNvPr>
          <p:cNvSpPr txBox="1">
            <a:spLocks/>
          </p:cNvSpPr>
          <p:nvPr/>
        </p:nvSpPr>
        <p:spPr>
          <a:xfrm>
            <a:off x="2465044" y="5761962"/>
            <a:ext cx="1880400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anks!</a:t>
            </a:r>
            <a:endParaRPr lang="en-US" sz="32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\beta \rightarrow 2\beta$&#10;&#10;\end{document}" title="IguanaTex Picture Display">
            <a:extLst>
              <a:ext uri="{FF2B5EF4-FFF2-40B4-BE49-F238E27FC236}">
                <a16:creationId xmlns:a16="http://schemas.microsoft.com/office/drawing/2014/main" id="{9546D9AF-7EDD-E144-0D19-E658B22085F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45" y="1643345"/>
            <a:ext cx="816760" cy="228571"/>
          </a:xfrm>
          <a:prstGeom prst="rect">
            <a:avLst/>
          </a:prstGeom>
        </p:spPr>
      </p:pic>
      <p:pic>
        <p:nvPicPr>
          <p:cNvPr id="15" name="Picture 14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EF44E155-CD72-F798-2D96-51AD086E34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756" y="3353081"/>
            <a:ext cx="169143" cy="172190"/>
          </a:xfrm>
          <a:prstGeom prst="rect">
            <a:avLst/>
          </a:prstGeom>
        </p:spPr>
      </p:pic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FFCB12F6-517B-928F-818F-6916E53180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4070854"/>
            <a:ext cx="140190" cy="228571"/>
          </a:xfrm>
          <a:prstGeom prst="rect">
            <a:avLst/>
          </a:prstGeom>
        </p:spPr>
      </p:pic>
      <p:pic>
        <p:nvPicPr>
          <p:cNvPr id="18" name="Picture 17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33E13E7E-37A1-1A6B-874B-C6FC63A9936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2183759"/>
            <a:ext cx="140190" cy="228571"/>
          </a:xfrm>
          <a:prstGeom prst="rect">
            <a:avLst/>
          </a:prstGeom>
        </p:spPr>
      </p:pic>
      <p:pic>
        <p:nvPicPr>
          <p:cNvPr id="19" name="Picture 18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5F740CFB-F1EB-7E03-C3B5-5E76FCEE55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264" y="1156469"/>
            <a:ext cx="4795249" cy="1451772"/>
          </a:xfrm>
          <a:prstGeom prst="rect">
            <a:avLst/>
          </a:prstGeom>
        </p:spPr>
      </p:pic>
      <p:pic>
        <p:nvPicPr>
          <p:cNvPr id="20" name="Picture 1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89789A95-2F4F-F790-FE1B-36FDF59DF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2667596"/>
            <a:ext cx="4119307" cy="1261012"/>
          </a:xfrm>
          <a:prstGeom prst="rect">
            <a:avLst/>
          </a:prstGeom>
        </p:spPr>
      </p:pic>
      <p:sp>
        <p:nvSpPr>
          <p:cNvPr id="26" name="Untertitel 2 5 1 1 1 1 2 1 1">
            <a:extLst>
              <a:ext uri="{FF2B5EF4-FFF2-40B4-BE49-F238E27FC236}">
                <a16:creationId xmlns:a16="http://schemas.microsoft.com/office/drawing/2014/main" id="{793348A4-B593-E4A9-2B26-A7A7F8952D39}"/>
              </a:ext>
            </a:extLst>
          </p:cNvPr>
          <p:cNvSpPr txBox="1">
            <a:spLocks/>
          </p:cNvSpPr>
          <p:nvPr/>
        </p:nvSpPr>
        <p:spPr>
          <a:xfrm>
            <a:off x="642853" y="2513317"/>
            <a:ext cx="5346467" cy="7349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The MPO squaring implementation resembles two-site DMRG, with different optimization rule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7" name="Untertitel 2 5 1 1 1 1 2 1 1">
            <a:extLst>
              <a:ext uri="{FF2B5EF4-FFF2-40B4-BE49-F238E27FC236}">
                <a16:creationId xmlns:a16="http://schemas.microsoft.com/office/drawing/2014/main" id="{A363F37A-5DC4-AF85-BA4D-659BB982E301}"/>
              </a:ext>
            </a:extLst>
          </p:cNvPr>
          <p:cNvSpPr txBox="1">
            <a:spLocks/>
          </p:cNvSpPr>
          <p:nvPr/>
        </p:nvSpPr>
        <p:spPr>
          <a:xfrm>
            <a:off x="642853" y="3262178"/>
            <a:ext cx="5448337" cy="451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The </a:t>
            </a:r>
            <a:r>
              <a:rPr lang="en-US" sz="2000" dirty="0">
                <a:latin typeface="Bahnschrift SemiCondensed" panose="020B0502040204020203" pitchFamily="34" charset="0"/>
              </a:rPr>
              <a:t>values of     we computed agree with analytic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8" name="Untertitel 2 5 1 1 1 1 2 1 1">
            <a:extLst>
              <a:ext uri="{FF2B5EF4-FFF2-40B4-BE49-F238E27FC236}">
                <a16:creationId xmlns:a16="http://schemas.microsoft.com/office/drawing/2014/main" id="{B7091DDD-486B-AB5E-407B-14B93246C463}"/>
              </a:ext>
            </a:extLst>
          </p:cNvPr>
          <p:cNvSpPr txBox="1">
            <a:spLocks/>
          </p:cNvSpPr>
          <p:nvPr/>
        </p:nvSpPr>
        <p:spPr>
          <a:xfrm>
            <a:off x="642853" y="3714134"/>
            <a:ext cx="5602499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</a:t>
            </a:r>
            <a:r>
              <a:rPr lang="en-US" sz="2000" dirty="0">
                <a:latin typeface="Bahnschrift SemiCondensed" panose="020B0502040204020203" pitchFamily="34" charset="0"/>
              </a:rPr>
              <a:t>found that the singular values at the bonds evolve smoothly as a function of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9" name="Untertitel 2 5 1 1 1 1 2 1 1">
            <a:extLst>
              <a:ext uri="{FF2B5EF4-FFF2-40B4-BE49-F238E27FC236}">
                <a16:creationId xmlns:a16="http://schemas.microsoft.com/office/drawing/2014/main" id="{57F38FFB-575D-3939-F527-134376EFFF68}"/>
              </a:ext>
            </a:extLst>
          </p:cNvPr>
          <p:cNvSpPr txBox="1">
            <a:spLocks/>
          </p:cNvSpPr>
          <p:nvPr/>
        </p:nvSpPr>
        <p:spPr>
          <a:xfrm>
            <a:off x="642853" y="4032517"/>
            <a:ext cx="5602499" cy="1527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Main </a:t>
            </a:r>
            <a:r>
              <a:rPr lang="en-US" sz="2000" b="1" dirty="0">
                <a:latin typeface="Bahnschrift SemiCondensed" panose="020B0502040204020203" pitchFamily="34" charset="0"/>
              </a:rPr>
              <a:t>open question</a:t>
            </a:r>
            <a:r>
              <a:rPr lang="en-US" sz="2000" dirty="0">
                <a:latin typeface="Bahnschrift SemiCondensed" panose="020B0502040204020203" pitchFamily="34" charset="0"/>
              </a:rPr>
              <a:t>: general conditions under which the XTRG algorithm works? How to overcome the low-temperature bottleneck to check convergence?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FB811-6225-4E7B-9B55-FC81A9EB72C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6" name="Picture 5" descr="A graph of a function&#10;&#10;AI-generated content may be incorrect.">
            <a:extLst>
              <a:ext uri="{FF2B5EF4-FFF2-40B4-BE49-F238E27FC236}">
                <a16:creationId xmlns:a16="http://schemas.microsoft.com/office/drawing/2014/main" id="{1E7EC78D-AFDC-5E01-D081-878DD231E1C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209" y="4126884"/>
            <a:ext cx="4119307" cy="2574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9764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  <p:bldP spid="26" grpId="0"/>
      <p:bldP spid="27" grpId="0"/>
      <p:bldP spid="28" grpId="0"/>
      <p:bldP spid="2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C2753E-7B0E-1B84-2E81-BD8196B47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7"/>
              </a:rPr>
              <a:t>https://doi.org/10.1103/PhysRevB.102.035147</a:t>
            </a:r>
            <a:endParaRPr lang="en-US" sz="2000" dirty="0">
              <a:latin typeface="Bahnschrift SemiCondensed" panose="020B0502040204020203" pitchFamily="34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467CB56-9BCD-6B67-9A0E-2C30E29FA9B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  <p:transition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599FA5-CBF0-0D24-41F8-0AB413A9BC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977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711E404B-8E9D-5A0C-51FB-791FB293F29A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 of XTRG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AAA668A-BB8B-AE53-203B-6DCA0FE66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471679"/>
      </p:ext>
    </p:extLst>
  </p:cSld>
  <p:clrMapOvr>
    <a:masterClrMapping/>
  </p:clrMapOvr>
  <p:transition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95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80323" y="1615024"/>
            <a:ext cx="1613413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ponential reduction  of #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6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EA334638-8DDE-4B48-89D3-FE9E2E2EA8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30" y="1523017"/>
            <a:ext cx="4795249" cy="1284010"/>
          </a:xfrm>
          <a:prstGeom prst="rect">
            <a:avLst/>
          </a:prstGeom>
        </p:spPr>
      </p:pic>
      <p:sp>
        <p:nvSpPr>
          <p:cNvPr id="10" name="Untertitel 2 5 1 1 1">
            <a:extLst>
              <a:ext uri="{FF2B5EF4-FFF2-40B4-BE49-F238E27FC236}">
                <a16:creationId xmlns:a16="http://schemas.microsoft.com/office/drawing/2014/main" id="{D8CEC5C1-AAE7-759A-2BC6-EF8B0D218533}"/>
              </a:ext>
            </a:extLst>
          </p:cNvPr>
          <p:cNvSpPr txBox="1">
            <a:spLocks/>
          </p:cNvSpPr>
          <p:nvPr/>
        </p:nvSpPr>
        <p:spPr>
          <a:xfrm>
            <a:off x="2487558" y="1530564"/>
            <a:ext cx="1908280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maginary time evolution:</a:t>
            </a:r>
            <a:endParaRPr lang="en-US" sz="2000" noProof="0" dirty="0"/>
          </a:p>
        </p:txBody>
      </p:sp>
      <p:sp>
        <p:nvSpPr>
          <p:cNvPr id="11" name="Untertitel 2 5 1 2">
            <a:extLst>
              <a:ext uri="{FF2B5EF4-FFF2-40B4-BE49-F238E27FC236}">
                <a16:creationId xmlns:a16="http://schemas.microsoft.com/office/drawing/2014/main" id="{AD875446-AFD4-85E7-CB75-B8910FD913DB}"/>
              </a:ext>
            </a:extLst>
          </p:cNvPr>
          <p:cNvSpPr txBox="1">
            <a:spLocks/>
          </p:cNvSpPr>
          <p:nvPr/>
        </p:nvSpPr>
        <p:spPr>
          <a:xfrm>
            <a:off x="2487556" y="2494613"/>
            <a:ext cx="2370881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algorithm:</a:t>
            </a:r>
            <a:endParaRPr lang="en-US" sz="2000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0FFC7A-62FF-8C94-E3B2-439C895DE4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1750391"/>
            <a:ext cx="583184" cy="375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21A834-A597-0CE0-20A4-DB32B55F85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2426814"/>
            <a:ext cx="1247648" cy="375920"/>
          </a:xfrm>
          <a:prstGeom prst="rect">
            <a:avLst/>
          </a:prstGeom>
        </p:spPr>
      </p:pic>
      <p:sp>
        <p:nvSpPr>
          <p:cNvPr id="19" name="Untertitel 2 5 1 1 2">
            <a:extLst>
              <a:ext uri="{FF2B5EF4-FFF2-40B4-BE49-F238E27FC236}">
                <a16:creationId xmlns:a16="http://schemas.microsoft.com/office/drawing/2014/main" id="{6B6BA270-B6E5-28A5-468A-7A26146F72E6}"/>
              </a:ext>
            </a:extLst>
          </p:cNvPr>
          <p:cNvSpPr txBox="1">
            <a:spLocks/>
          </p:cNvSpPr>
          <p:nvPr/>
        </p:nvSpPr>
        <p:spPr>
          <a:xfrm>
            <a:off x="10620913" y="2416784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0" name="Untertitel 2 5 1 1 3">
            <a:extLst>
              <a:ext uri="{FF2B5EF4-FFF2-40B4-BE49-F238E27FC236}">
                <a16:creationId xmlns:a16="http://schemas.microsoft.com/office/drawing/2014/main" id="{88670A6C-1E06-B60D-35E2-3BACA99ACCDB}"/>
              </a:ext>
            </a:extLst>
          </p:cNvPr>
          <p:cNvSpPr txBox="1">
            <a:spLocks/>
          </p:cNvSpPr>
          <p:nvPr/>
        </p:nvSpPr>
        <p:spPr>
          <a:xfrm>
            <a:off x="10017269" y="1745376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1" name="Untertitel 2 2 1 2 1">
            <a:extLst>
              <a:ext uri="{FF2B5EF4-FFF2-40B4-BE49-F238E27FC236}">
                <a16:creationId xmlns:a16="http://schemas.microsoft.com/office/drawing/2014/main" id="{C4645897-A41C-7D14-5592-B2635A085853}"/>
              </a:ext>
            </a:extLst>
          </p:cNvPr>
          <p:cNvSpPr txBox="1">
            <a:spLocks/>
          </p:cNvSpPr>
          <p:nvPr/>
        </p:nvSpPr>
        <p:spPr>
          <a:xfrm>
            <a:off x="621101" y="3497326"/>
            <a:ext cx="1779199" cy="8297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void critical poin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5 1 1 4 1">
            <a:extLst>
              <a:ext uri="{FF2B5EF4-FFF2-40B4-BE49-F238E27FC236}">
                <a16:creationId xmlns:a16="http://schemas.microsoft.com/office/drawing/2014/main" id="{14EACC11-4408-3914-7213-6E7BEAEEFED3}"/>
              </a:ext>
            </a:extLst>
          </p:cNvPr>
          <p:cNvSpPr txBox="1">
            <a:spLocks/>
          </p:cNvSpPr>
          <p:nvPr/>
        </p:nvSpPr>
        <p:spPr>
          <a:xfrm>
            <a:off x="2487556" y="3538482"/>
            <a:ext cx="8461798" cy="7396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is in principle able to jump over phase transitions in     space, which is where converged computations get costly</a:t>
            </a:r>
            <a:endParaRPr lang="en-US" sz="2000" noProof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37ACDD3-6906-2FE8-411F-E638D734383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438" y="3624176"/>
            <a:ext cx="140208" cy="227584"/>
          </a:xfrm>
          <a:prstGeom prst="rect">
            <a:avLst/>
          </a:prstGeom>
        </p:spPr>
      </p:pic>
      <p:pic>
        <p:nvPicPr>
          <p:cNvPr id="29" name="Picture 28" descr="A black and white symbol&#10;&#10;Description automatically generated">
            <a:extLst>
              <a:ext uri="{FF2B5EF4-FFF2-40B4-BE49-F238E27FC236}">
                <a16:creationId xmlns:a16="http://schemas.microsoft.com/office/drawing/2014/main" id="{D3D91425-7287-F709-2402-CB7592541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0945" y="4272015"/>
            <a:ext cx="4791637" cy="972919"/>
          </a:xfrm>
          <a:prstGeom prst="rect">
            <a:avLst/>
          </a:prstGeom>
        </p:spPr>
      </p:pic>
      <p:sp>
        <p:nvSpPr>
          <p:cNvPr id="30" name="Untertitel 2 2 1 2 2">
            <a:extLst>
              <a:ext uri="{FF2B5EF4-FFF2-40B4-BE49-F238E27FC236}">
                <a16:creationId xmlns:a16="http://schemas.microsoft.com/office/drawing/2014/main" id="{0667BC32-B0F0-6754-B8CF-422DE35892A1}"/>
              </a:ext>
            </a:extLst>
          </p:cNvPr>
          <p:cNvSpPr txBox="1">
            <a:spLocks/>
          </p:cNvSpPr>
          <p:nvPr/>
        </p:nvSpPr>
        <p:spPr>
          <a:xfrm>
            <a:off x="621101" y="5505911"/>
            <a:ext cx="1969700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caling of entanglement</a:t>
            </a:r>
          </a:p>
        </p:txBody>
      </p:sp>
      <p:sp>
        <p:nvSpPr>
          <p:cNvPr id="31" name="Untertitel 2 5 1 1 4 2">
            <a:extLst>
              <a:ext uri="{FF2B5EF4-FFF2-40B4-BE49-F238E27FC236}">
                <a16:creationId xmlns:a16="http://schemas.microsoft.com/office/drawing/2014/main" id="{3BC51902-C055-B28E-D2C8-F90669817833}"/>
              </a:ext>
            </a:extLst>
          </p:cNvPr>
          <p:cNvSpPr txBox="1">
            <a:spLocks/>
          </p:cNvSpPr>
          <p:nvPr/>
        </p:nvSpPr>
        <p:spPr>
          <a:xfrm>
            <a:off x="2487555" y="5439191"/>
            <a:ext cx="8933113" cy="11332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For many 1D models, thermal stat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entanglement</a:t>
            </a:r>
            <a:r>
              <a:rPr lang="en-US" sz="2000" noProof="0" dirty="0">
                <a:latin typeface="Bahnschrift SemiCondensed" panose="020B0502040204020203" pitchFamily="34" charset="0"/>
              </a:rPr>
              <a:t> scales as                        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t is often expected that changes in entanglement reflect transitions between physical regimes</a:t>
            </a:r>
            <a:r>
              <a:rPr lang="en-US" sz="2000" dirty="0">
                <a:latin typeface="Bahnschrift SemiCondensed" panose="020B0502040204020203" pitchFamily="34" charset="0"/>
              </a:rPr>
              <a:t>. One should then use </a:t>
            </a:r>
            <a:r>
              <a:rPr lang="en-US" sz="2000" noProof="0" dirty="0">
                <a:latin typeface="Bahnschrift SemiCondensed" panose="020B0502040204020203" pitchFamily="34" charset="0"/>
              </a:rPr>
              <a:t>a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logarithmic </a:t>
            </a:r>
            <a:r>
              <a:rPr lang="en-US" sz="2000" noProof="0" dirty="0">
                <a:latin typeface="Bahnschrift SemiCondensed" panose="020B0502040204020203" pitchFamily="34" charset="0"/>
              </a:rPr>
              <a:t>scale for    </a:t>
            </a:r>
            <a:r>
              <a:rPr lang="en-US" sz="2000" dirty="0">
                <a:latin typeface="Bahnschrift SemiCondensed" panose="020B0502040204020203" pitchFamily="34" charset="0"/>
              </a:rPr>
              <a:t>to see sizable effects.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4172289-C9FF-2DB2-EEBA-05C9780374B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7504" y="6049303"/>
            <a:ext cx="140208" cy="227584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1DF398A-FDAB-EF16-61F9-6BE8F112439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72A7EF56-2A1B-976C-FA1A-9F15AF9CBF0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646" y="5510657"/>
            <a:ext cx="1305905" cy="25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269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11" grpId="0"/>
      <p:bldP spid="19" grpId="0"/>
      <p:bldP spid="20" grpId="0"/>
      <p:bldP spid="21" grpId="0"/>
      <p:bldP spid="22" grpId="0"/>
      <p:bldP spid="30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5C006-80BA-8F55-9B83-7943617C7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FE087E-8D0B-6C61-15E2-321235AC0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99FA5-CBF0-0D24-41F8-0AB413A9BC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A383B6CA-3124-634C-A1D1-FC0D9773B7D3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Global Structure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 / IV</a:t>
            </a:r>
            <a:endParaRPr lang="en-US" sz="4000" b="1" noProof="0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1126B2A3-4FA3-0555-5871-D0A44AFD8F94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622848"/>
      </p:ext>
    </p:extLst>
  </p:cSld>
  <p:clrMapOvr>
    <a:masterClrMapping/>
  </p:clrMapOvr>
  <p:transition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Algorithm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792348" y="1510100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2 1 2">
            <a:extLst>
              <a:ext uri="{FF2B5EF4-FFF2-40B4-BE49-F238E27FC236}">
                <a16:creationId xmlns:a16="http://schemas.microsoft.com/office/drawing/2014/main" id="{5D414769-3CFE-96F3-D54C-CB888A48CFFF}"/>
              </a:ext>
            </a:extLst>
          </p:cNvPr>
          <p:cNvSpPr txBox="1">
            <a:spLocks/>
          </p:cNvSpPr>
          <p:nvPr/>
        </p:nvSpPr>
        <p:spPr>
          <a:xfrm>
            <a:off x="792348" y="3169838"/>
            <a:ext cx="152371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2 1 3">
            <a:extLst>
              <a:ext uri="{FF2B5EF4-FFF2-40B4-BE49-F238E27FC236}">
                <a16:creationId xmlns:a16="http://schemas.microsoft.com/office/drawing/2014/main" id="{0E607EDA-C8D0-68BA-3C12-A865D1F9D090}"/>
              </a:ext>
            </a:extLst>
          </p:cNvPr>
          <p:cNvSpPr txBox="1">
            <a:spLocks/>
          </p:cNvSpPr>
          <p:nvPr/>
        </p:nvSpPr>
        <p:spPr>
          <a:xfrm>
            <a:off x="973298" y="4590831"/>
            <a:ext cx="935931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2 1 4">
            <a:extLst>
              <a:ext uri="{FF2B5EF4-FFF2-40B4-BE49-F238E27FC236}">
                <a16:creationId xmlns:a16="http://schemas.microsoft.com/office/drawing/2014/main" id="{9E833B79-830C-0A90-A034-49DE70291062}"/>
              </a:ext>
            </a:extLst>
          </p:cNvPr>
          <p:cNvSpPr txBox="1">
            <a:spLocks/>
          </p:cNvSpPr>
          <p:nvPr/>
        </p:nvSpPr>
        <p:spPr>
          <a:xfrm>
            <a:off x="1073673" y="5649048"/>
            <a:ext cx="83555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5 1">
            <a:extLst>
              <a:ext uri="{FF2B5EF4-FFF2-40B4-BE49-F238E27FC236}">
                <a16:creationId xmlns:a16="http://schemas.microsoft.com/office/drawing/2014/main" id="{D5BC0EC5-18F9-E60A-B28E-9FBB94493F59}"/>
              </a:ext>
            </a:extLst>
          </p:cNvPr>
          <p:cNvSpPr txBox="1">
            <a:spLocks/>
          </p:cNvSpPr>
          <p:nvPr/>
        </p:nvSpPr>
        <p:spPr>
          <a:xfrm>
            <a:off x="2190554" y="1394064"/>
            <a:ext cx="8340605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</a:t>
            </a:r>
            <a:r>
              <a:rPr lang="en-US" sz="2000" dirty="0">
                <a:latin typeface="Bahnschrift SemiCondensed" panose="020B0502040204020203" pitchFamily="34" charset="0"/>
              </a:rPr>
              <a:t>un</a:t>
            </a:r>
            <a:r>
              <a:rPr lang="en-US" sz="2000" noProof="0" dirty="0">
                <a:latin typeface="Bahnschrift SemiCondensed" panose="020B0502040204020203" pitchFamily="34" charset="0"/>
              </a:rPr>
              <a:t>normalized thermal states            of 1D chain Hamiltonians </a:t>
            </a:r>
            <a:r>
              <a:rPr lang="en-US" sz="2000" dirty="0">
                <a:latin typeface="Bahnschrift SemiCondensed" panose="020B0502040204020203" pitchFamily="34" charset="0"/>
              </a:rPr>
              <a:t>on an exponential </a:t>
            </a:r>
            <a:r>
              <a:rPr lang="en-US" sz="2000" noProof="0" dirty="0">
                <a:latin typeface="Bahnschrift SemiCondensed" panose="020B0502040204020203" pitchFamily="34" charset="0"/>
              </a:rPr>
              <a:t>temperature scale by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terative self-contrac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state</a:t>
            </a:r>
            <a:endParaRPr lang="en-US" sz="2000" noProof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E646A2-76F1-14E4-65DC-D09069D34CF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096" y="1379036"/>
            <a:ext cx="558800" cy="26212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5AA166A-E80A-F274-F493-270D18C1DFA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452" y="2209186"/>
            <a:ext cx="414668" cy="95786"/>
          </a:xfrm>
          <a:prstGeom prst="rect">
            <a:avLst/>
          </a:prstGeom>
        </p:spPr>
      </p:pic>
      <p:sp>
        <p:nvSpPr>
          <p:cNvPr id="31" name="Untertitel 2 5 2 1">
            <a:extLst>
              <a:ext uri="{FF2B5EF4-FFF2-40B4-BE49-F238E27FC236}">
                <a16:creationId xmlns:a16="http://schemas.microsoft.com/office/drawing/2014/main" id="{EC9E8D57-18C0-3616-CF79-740F15F37B8C}"/>
              </a:ext>
            </a:extLst>
          </p:cNvPr>
          <p:cNvSpPr txBox="1">
            <a:spLocks/>
          </p:cNvSpPr>
          <p:nvPr/>
        </p:nvSpPr>
        <p:spPr>
          <a:xfrm>
            <a:off x="2190554" y="2971936"/>
            <a:ext cx="4424915" cy="12950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Represent                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MPO,</a:t>
            </a:r>
            <a:r>
              <a:rPr lang="en-US" sz="2000" noProof="0" dirty="0">
                <a:latin typeface="Bahnschrift SemiCondensed" panose="020B0502040204020203" pitchFamily="34" charset="0"/>
              </a:rPr>
              <a:t> compute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>
                <a:latin typeface="Bahnschrift SemiCondensed" panose="020B0502040204020203" pitchFamily="34" charset="0"/>
              </a:rPr>
              <a:t>its square with tensor network techniques, and truncate virtual bond dimension with a variational method</a:t>
            </a:r>
            <a:endParaRPr lang="en-US" sz="2000" noProof="0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854ADF9-9CF8-D493-92E3-DF59A502439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970" y="2956652"/>
            <a:ext cx="871728" cy="262128"/>
          </a:xfrm>
          <a:prstGeom prst="rect">
            <a:avLst/>
          </a:prstGeom>
        </p:spPr>
      </p:pic>
      <p:sp>
        <p:nvSpPr>
          <p:cNvPr id="38" name="Untertitel 2 5 2 2">
            <a:extLst>
              <a:ext uri="{FF2B5EF4-FFF2-40B4-BE49-F238E27FC236}">
                <a16:creationId xmlns:a16="http://schemas.microsoft.com/office/drawing/2014/main" id="{D7EF687E-B97E-9C5E-21A9-D81C88D9AF1B}"/>
              </a:ext>
            </a:extLst>
          </p:cNvPr>
          <p:cNvSpPr txBox="1">
            <a:spLocks/>
          </p:cNvSpPr>
          <p:nvPr/>
        </p:nvSpPr>
        <p:spPr>
          <a:xfrm>
            <a:off x="2209745" y="4410320"/>
            <a:ext cx="6422510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will use the method on a 1D XY chain of L = 10 sites, </a:t>
            </a:r>
            <a:endParaRPr lang="en-US" sz="2000" noProof="0" dirty="0"/>
          </a:p>
        </p:txBody>
      </p:sp>
      <p:pic>
        <p:nvPicPr>
          <p:cNvPr id="39" name="Picture 38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DE26E7A1-6209-5334-B902-8C7F9A55D04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4902816"/>
            <a:ext cx="6875428" cy="350476"/>
          </a:xfrm>
          <a:prstGeom prst="rect">
            <a:avLst/>
          </a:prstGeom>
        </p:spPr>
      </p:pic>
      <p:sp>
        <p:nvSpPr>
          <p:cNvPr id="41" name="Untertitel 2 5 2 3">
            <a:extLst>
              <a:ext uri="{FF2B5EF4-FFF2-40B4-BE49-F238E27FC236}">
                <a16:creationId xmlns:a16="http://schemas.microsoft.com/office/drawing/2014/main" id="{6F76CD91-6960-1FAE-85A7-38AD889A1014}"/>
              </a:ext>
            </a:extLst>
          </p:cNvPr>
          <p:cNvSpPr txBox="1">
            <a:spLocks/>
          </p:cNvSpPr>
          <p:nvPr/>
        </p:nvSpPr>
        <p:spPr>
          <a:xfrm>
            <a:off x="2177663" y="5573250"/>
            <a:ext cx="7836673" cy="10580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the partition function                            for logarithmically discretized                                                and compare with analytical result</a:t>
            </a:r>
            <a:endParaRPr lang="en-US" sz="2000" noProof="0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951737F-81FD-DBC0-1618-B77935295B2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032" y="5576973"/>
            <a:ext cx="1532128" cy="32308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9DFE00A-3274-40A4-0316-8EE58FD0CEA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573" y="5912097"/>
            <a:ext cx="2708656" cy="227584"/>
          </a:xfrm>
          <a:prstGeom prst="rect">
            <a:avLst/>
          </a:prstGeom>
        </p:spPr>
      </p:pic>
      <p:pic>
        <p:nvPicPr>
          <p:cNvPr id="60" name="Picture 5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2DCF7B63-7880-350F-8AD2-D7D9D1CCF4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6822" y="2868331"/>
            <a:ext cx="4424915" cy="1354566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8F9FE07-D1C4-A65A-28AF-B80D19D6ACB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3" name="Picture 32" descr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 title="IguanaTex Bitmap Display">
            <a:extLst>
              <a:ext uri="{FF2B5EF4-FFF2-40B4-BE49-F238E27FC236}">
                <a16:creationId xmlns:a16="http://schemas.microsoft.com/office/drawing/2014/main" id="{3CE981EC-FBA4-18EB-6F0D-16ED117D0E0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2274273"/>
            <a:ext cx="7491047" cy="32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902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10" grpId="0"/>
      <p:bldP spid="31" grpId="0"/>
      <p:bldP spid="38" grpId="0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655719" y="470139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P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s and Truncat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54261" y="1336043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833706" y="1394491"/>
            <a:ext cx="8810355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ensor network representation helps to visualize the applied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trunca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method. clearer. The thermal state will be represented as an MPO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116CC1-D98A-0DD5-383F-6B0D16A80147}"/>
              </a:ext>
            </a:extLst>
          </p:cNvPr>
          <p:cNvSpPr txBox="1"/>
          <p:nvPr/>
        </p:nvSpPr>
        <p:spPr>
          <a:xfrm>
            <a:off x="2862259" y="2658824"/>
            <a:ext cx="29909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Bahnschrift SemiCondensed" panose="020B0502040204020203" pitchFamily="34" charset="0"/>
              </a:rPr>
              <a:t>One XTRG temperature update:</a:t>
            </a:r>
            <a:endParaRPr lang="en-DE" dirty="0"/>
          </a:p>
        </p:txBody>
      </p:sp>
      <p:sp>
        <p:nvSpPr>
          <p:cNvPr id="10" name="Untertitel 2 2 1 2 1">
            <a:extLst>
              <a:ext uri="{FF2B5EF4-FFF2-40B4-BE49-F238E27FC236}">
                <a16:creationId xmlns:a16="http://schemas.microsoft.com/office/drawing/2014/main" id="{7C888F6D-E10C-28EA-6151-B6CD1EDCB720}"/>
              </a:ext>
            </a:extLst>
          </p:cNvPr>
          <p:cNvSpPr txBox="1">
            <a:spLocks/>
          </p:cNvSpPr>
          <p:nvPr/>
        </p:nvSpPr>
        <p:spPr>
          <a:xfrm>
            <a:off x="654261" y="2470460"/>
            <a:ext cx="2001458" cy="1074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ression by truncation</a:t>
            </a:r>
          </a:p>
        </p:txBody>
      </p:sp>
      <p:pic>
        <p:nvPicPr>
          <p:cNvPr id="24" name="Picture 23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8F066C41-A7D0-6914-35FD-2A6473ED197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980" y="3646185"/>
            <a:ext cx="2702974" cy="599959"/>
          </a:xfrm>
          <a:prstGeom prst="rect">
            <a:avLst/>
          </a:prstGeom>
        </p:spPr>
      </p:pic>
      <p:pic>
        <p:nvPicPr>
          <p:cNvPr id="26" name="Picture 25" descr="A diagram of a network&#10;&#10;Description automatically generated">
            <a:extLst>
              <a:ext uri="{FF2B5EF4-FFF2-40B4-BE49-F238E27FC236}">
                <a16:creationId xmlns:a16="http://schemas.microsoft.com/office/drawing/2014/main" id="{1F9D8D77-B2B1-B52F-5A10-9B3FCB5CC1A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041" y="3478760"/>
            <a:ext cx="2488028" cy="97433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68B14E0-E081-3A61-D41B-A2311A0E7C7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619" y="3630945"/>
            <a:ext cx="251502" cy="175707"/>
          </a:xfrm>
          <a:prstGeom prst="rect">
            <a:avLst/>
          </a:prstGeom>
        </p:spPr>
      </p:pic>
      <p:pic>
        <p:nvPicPr>
          <p:cNvPr id="43" name="Picture 4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B8C64FD4-A29D-47D6-F5CB-66A1FB7BD3A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005" y="3686463"/>
            <a:ext cx="2488027" cy="59037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115BF61-A7A5-1D8E-09E6-68FCE3DEE0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807" y="3685069"/>
            <a:ext cx="164396" cy="1438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C729F1-B44D-3CC1-33EF-AE9ECFA41C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4" y="3478760"/>
            <a:ext cx="165371" cy="1447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E00C1A-1506-5BCF-5EE5-77ADB8DFF90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3" y="3918385"/>
            <a:ext cx="165371" cy="1447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B8E4BD-13EF-A690-3969-32D98DAAAD2E}"/>
              </a:ext>
            </a:extLst>
          </p:cNvPr>
          <p:cNvSpPr txBox="1"/>
          <p:nvPr/>
        </p:nvSpPr>
        <p:spPr>
          <a:xfrm>
            <a:off x="630652" y="4653806"/>
            <a:ext cx="113812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When lowering the temperature,                     , the bond dimension      would increase as</a:t>
            </a:r>
            <a:r>
              <a:rPr lang="en-DE" dirty="0">
                <a:latin typeface="Bahnschrift SemiCondensed" panose="020B0502040204020203" pitchFamily="34" charset="0"/>
              </a:rPr>
              <a:t> </a:t>
            </a:r>
            <a:r>
              <a:rPr lang="en-DE" b="1" dirty="0">
                <a:latin typeface="Bahnschrift SemiCondensed" panose="020B0502040204020203" pitchFamily="34" charset="0"/>
              </a:rPr>
              <a:t>exponential</a:t>
            </a:r>
            <a:r>
              <a:rPr lang="de-DE" b="1" dirty="0">
                <a:latin typeface="Bahnschrift SemiCondensed" panose="020B0502040204020203" pitchFamily="34" charset="0"/>
              </a:rPr>
              <a:t>ly</a:t>
            </a:r>
            <a:r>
              <a:rPr lang="en-DE" b="1" dirty="0">
                <a:latin typeface="Bahnschrift SemiCondensed" panose="020B0502040204020203" pitchFamily="34" charset="0"/>
              </a:rPr>
              <a:t> </a:t>
            </a:r>
            <a:r>
              <a:rPr lang="en-DE" dirty="0">
                <a:latin typeface="Bahnschrift SemiCondensed" panose="020B0502040204020203" pitchFamily="34" charset="0"/>
              </a:rPr>
              <a:t>in    </a:t>
            </a:r>
            <a:r>
              <a:rPr lang="de-DE" dirty="0">
                <a:latin typeface="Bahnschrift SemiCondensed" panose="020B0502040204020203" pitchFamily="34" charset="0"/>
              </a:rPr>
              <a:t>. </a:t>
            </a:r>
            <a:r>
              <a:rPr lang="en-DE" dirty="0">
                <a:latin typeface="Bahnschrift SemiCondensed" panose="020B0502040204020203" pitchFamily="34" charset="0"/>
              </a:rPr>
              <a:t>But the slow entanglement growth 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</a:t>
            </a:r>
            <a:r>
              <a:rPr lang="en-DE" dirty="0">
                <a:latin typeface="Bahnschrift SemiCondensed" panose="020B0502040204020203" pitchFamily="34" charset="0"/>
              </a:rPr>
              <a:t>along with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 </a:t>
            </a:r>
            <a:r>
              <a:rPr lang="en-DE" dirty="0">
                <a:latin typeface="Bahnschrift SemiCondensed" panose="020B0502040204020203" pitchFamily="34" charset="0"/>
              </a:rPr>
              <a:t> suggest </a:t>
            </a:r>
            <a:r>
              <a:rPr lang="en-DE" b="1" dirty="0">
                <a:latin typeface="Bahnschrift SemiCondensed" panose="020B0502040204020203" pitchFamily="34" charset="0"/>
              </a:rPr>
              <a:t>truncating</a:t>
            </a:r>
            <a:r>
              <a:rPr lang="en-DE" dirty="0">
                <a:latin typeface="Bahnschrift SemiCondensed" panose="020B0502040204020203" pitchFamily="34" charset="0"/>
              </a:rPr>
              <a:t> bond dim</a:t>
            </a:r>
            <a:r>
              <a:rPr lang="de-DE" dirty="0">
                <a:latin typeface="Bahnschrift SemiCondensed" panose="020B0502040204020203" pitchFamily="34" charset="0"/>
              </a:rPr>
              <a:t>ension</a:t>
            </a:r>
            <a:r>
              <a:rPr lang="en-DE" dirty="0">
                <a:latin typeface="Bahnschrift SemiCondensed" panose="020B0502040204020203" pitchFamily="34" charset="0"/>
              </a:rPr>
              <a:t> as              </a:t>
            </a:r>
            <a:r>
              <a:rPr lang="de-DE" dirty="0">
                <a:latin typeface="Bahnschrift SemiCondensed" panose="020B0502040204020203" pitchFamily="34" charset="0"/>
              </a:rPr>
              <a:t> .</a:t>
            </a:r>
            <a:r>
              <a:rPr lang="en-DE" dirty="0">
                <a:latin typeface="Bahnschrift SemiCondensed" panose="020B0502040204020203" pitchFamily="34" charset="0"/>
              </a:rPr>
              <a:t>      </a:t>
            </a:r>
            <a:endParaRPr lang="en-US" b="1" dirty="0">
              <a:latin typeface="Bahnschrift SemiCondensed" panose="020B0502040204020203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9F3C2AAF-1888-754F-E6A7-859DF7BC50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4732391"/>
            <a:ext cx="987552" cy="22758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26A2E84-0D38-29B1-B69D-C4EDD384E3B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5943" y="4742256"/>
            <a:ext cx="195072" cy="17068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7134763-F737-6B7D-C009-BBA9367923C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4732391"/>
            <a:ext cx="140208" cy="22758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EFCD45D-CA37-1405-0A83-260E962FA0E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5028465"/>
            <a:ext cx="690880" cy="227584"/>
          </a:xfrm>
          <a:prstGeom prst="rect">
            <a:avLst/>
          </a:prstGeom>
        </p:spPr>
      </p:pic>
      <p:sp>
        <p:nvSpPr>
          <p:cNvPr id="70" name="Untertitel 2 2 1 2 2">
            <a:extLst>
              <a:ext uri="{FF2B5EF4-FFF2-40B4-BE49-F238E27FC236}">
                <a16:creationId xmlns:a16="http://schemas.microsoft.com/office/drawing/2014/main" id="{13A626C4-428B-FAE1-FA07-128E67EF589C}"/>
              </a:ext>
            </a:extLst>
          </p:cNvPr>
          <p:cNvSpPr txBox="1">
            <a:spLocks/>
          </p:cNvSpPr>
          <p:nvPr/>
        </p:nvSpPr>
        <p:spPr>
          <a:xfrm>
            <a:off x="607875" y="5561197"/>
            <a:ext cx="2592731" cy="9233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runcation and optimization scheme</a:t>
            </a:r>
          </a:p>
        </p:txBody>
      </p:sp>
      <p:sp>
        <p:nvSpPr>
          <p:cNvPr id="71" name="Untertitel 2 5 1 1 1 2">
            <a:extLst>
              <a:ext uri="{FF2B5EF4-FFF2-40B4-BE49-F238E27FC236}">
                <a16:creationId xmlns:a16="http://schemas.microsoft.com/office/drawing/2014/main" id="{718CBA71-0E55-4C11-47D9-5AB197121A55}"/>
              </a:ext>
            </a:extLst>
          </p:cNvPr>
          <p:cNvSpPr txBox="1">
            <a:spLocks/>
          </p:cNvSpPr>
          <p:nvPr/>
        </p:nvSpPr>
        <p:spPr>
          <a:xfrm>
            <a:off x="3244644" y="5795610"/>
            <a:ext cx="8399417" cy="469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F3A8058-8694-798E-67A2-EAB13E65F1E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8416" y="5707799"/>
            <a:ext cx="658368" cy="262128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2E190E2-AFBD-9799-D3F9-53DCB708885C}"/>
              </a:ext>
            </a:extLst>
          </p:cNvPr>
          <p:cNvSpPr txBox="1"/>
          <p:nvPr/>
        </p:nvSpPr>
        <p:spPr>
          <a:xfrm>
            <a:off x="3079573" y="5713136"/>
            <a:ext cx="77061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                 will be approximated by a low-     MPO      that </a:t>
            </a:r>
            <a:r>
              <a:rPr lang="en-US" b="1" dirty="0">
                <a:latin typeface="Bahnschrift SemiCondensed" panose="020B0502040204020203" pitchFamily="34" charset="0"/>
              </a:rPr>
              <a:t>minimizes</a:t>
            </a:r>
            <a:endParaRPr lang="en-DE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08B742C-0C47-AEBC-10CA-0E2DBC2ED14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597" y="5809999"/>
            <a:ext cx="195072" cy="170688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19AB4E7-DF4A-D9BA-6DDA-9290C85B50AF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1" name="Picture 10" descr="\documentclass{article}&#10;\usepackage{amsmath, amsfonts, amssymb, xcolor}&#10;\pagestyle{empty}&#10;\fontfamily{BahnschriftSemiCondensed}&#10;&#10;\begin{document}&#10;&#10;$&#10;\beta \rightarrow 2\beta&#10;$&#10;&#10;\end{document}" title="IguanaTex Bitmap Display">
            <a:extLst>
              <a:ext uri="{FF2B5EF4-FFF2-40B4-BE49-F238E27FC236}">
                <a16:creationId xmlns:a16="http://schemas.microsoft.com/office/drawing/2014/main" id="{900B65A0-7580-10EC-33E7-6818C83D2BF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410" y="2729204"/>
            <a:ext cx="816762" cy="228571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e^{-\beta\hat{H}}&#10;$&#10;&#10;\end{document}" title="IguanaTex Bitmap Display">
            <a:extLst>
              <a:ext uri="{FF2B5EF4-FFF2-40B4-BE49-F238E27FC236}">
                <a16:creationId xmlns:a16="http://schemas.microsoft.com/office/drawing/2014/main" id="{B2BB81EA-653D-0AD4-A59F-BB57192D3083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097" y="3814356"/>
            <a:ext cx="559238" cy="263619"/>
          </a:xfrm>
          <a:prstGeom prst="rect">
            <a:avLst/>
          </a:prstGeom>
        </p:spPr>
      </p:pic>
      <p:pic>
        <p:nvPicPr>
          <p:cNvPr id="15" name="Picture 1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54C4868B-DC5F-4DA0-1C28-3EA036CD159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409" y="3899563"/>
            <a:ext cx="225524" cy="132571"/>
          </a:xfrm>
          <a:prstGeom prst="rect">
            <a:avLst/>
          </a:prstGeom>
        </p:spPr>
      </p:pic>
      <p:pic>
        <p:nvPicPr>
          <p:cNvPr id="17" name="Picture 16" descr="\documentclass{article}&#10;\usepackage{amsmath, amsfonts, amssymb, xcolor}&#10;\pagestyle{empty}&#10;\fontfamily{BahnschriftSemiCondensed}&#10;&#10;\begin{document}&#10;&#10;$&#10;\simeq&#10;$&#10;&#10;\end{document}" title="IguanaTex Bitmap Display">
            <a:extLst>
              <a:ext uri="{FF2B5EF4-FFF2-40B4-BE49-F238E27FC236}">
                <a16:creationId xmlns:a16="http://schemas.microsoft.com/office/drawing/2014/main" id="{24841AF5-2A8E-AED5-7577-059799B2EAFD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453" y="3911753"/>
            <a:ext cx="169143" cy="108190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e^{-2\beta\hat{H}}&#10;$&#10;&#10;\end{document}" title="IguanaTex Bitmap Display">
            <a:extLst>
              <a:ext uri="{FF2B5EF4-FFF2-40B4-BE49-F238E27FC236}">
                <a16:creationId xmlns:a16="http://schemas.microsoft.com/office/drawing/2014/main" id="{22930085-B1EB-FB84-C9FE-0730EFE5CF3D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820" y="3773057"/>
            <a:ext cx="661333" cy="263619"/>
          </a:xfrm>
          <a:prstGeom prst="rect">
            <a:avLst/>
          </a:prstGeom>
        </p:spPr>
      </p:pic>
      <p:pic>
        <p:nvPicPr>
          <p:cNvPr id="20" name="Picture 19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F5D3FBF2-AE17-CB74-830A-F58A9278CFAA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9529" y="5012087"/>
            <a:ext cx="1305905" cy="254476"/>
          </a:xfrm>
          <a:prstGeom prst="rect">
            <a:avLst/>
          </a:prstGeom>
        </p:spPr>
      </p:pic>
      <p:pic>
        <p:nvPicPr>
          <p:cNvPr id="22" name="Picture 21" descr="\documentclass{article}&#10;\usepackage{amsmath, amsfonts, amssymb, xcolor}&#10;\pagestyle{empty}&#10;\fontfamily{BahnschriftSemiCondensed}&#10;&#10;\begin{document}&#10;&#10;$&#10;S_E \propto \log(D)&#10;$&#10;&#10;\end{document}" title="IguanaTex Bitmap Display">
            <a:extLst>
              <a:ext uri="{FF2B5EF4-FFF2-40B4-BE49-F238E27FC236}">
                <a16:creationId xmlns:a16="http://schemas.microsoft.com/office/drawing/2014/main" id="{EE87DCB3-0C95-554C-A0C1-F0C26CA3456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3889" y="5012087"/>
            <a:ext cx="1365333" cy="2544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C52F792-2CCB-8598-C77F-C38E5EDC3E9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781" y="5736847"/>
            <a:ext cx="180848" cy="243840"/>
          </a:xfrm>
          <a:prstGeom prst="rect">
            <a:avLst/>
          </a:prstGeom>
        </p:spPr>
      </p:pic>
      <p:pic>
        <p:nvPicPr>
          <p:cNvPr id="29" name="Picture 28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2FE486D3-BA35-473C-4D3C-F203F3C00077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9954" y="5698047"/>
            <a:ext cx="1600000" cy="332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52843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9" grpId="0"/>
      <p:bldP spid="10" grpId="0"/>
      <p:bldP spid="51" grpId="0"/>
      <p:bldP spid="70" grpId="0"/>
      <p:bldP spid="71" grpId="0"/>
      <p:bldP spid="7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9" imgH="478" progId="TCLayout.ActiveDocument.1">
                  <p:embed/>
                </p:oleObj>
              </mc:Choice>
              <mc:Fallback>
                <p:oleObj name="think-cell Slide" r:id="rId1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3"/>
            <a:ext cx="7020213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lgorithm Structur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826821" y="1726613"/>
            <a:ext cx="963364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137F4455-A3FD-98E9-E034-8BABD780B31B}"/>
              </a:ext>
            </a:extLst>
          </p:cNvPr>
          <p:cNvSpPr txBox="1">
            <a:spLocks/>
          </p:cNvSpPr>
          <p:nvPr/>
        </p:nvSpPr>
        <p:spPr>
          <a:xfrm>
            <a:off x="1837190" y="1735438"/>
            <a:ext cx="8934442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noProof="0" dirty="0">
                <a:latin typeface="Bahnschrift SemiCondensed" panose="020B0502040204020203" pitchFamily="34" charset="0"/>
              </a:rPr>
              <a:t>Recall:</a:t>
            </a:r>
            <a:r>
              <a:rPr lang="en-US" sz="2000" noProof="0" dirty="0">
                <a:latin typeface="Bahnschrift SemiCondensed" panose="020B0502040204020203" pitchFamily="34" charset="0"/>
              </a:rPr>
              <a:t> we want to compute the MPO of            for many inverse temperatur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31579-437C-9821-494D-CC090F731AE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464" y="1710689"/>
            <a:ext cx="558800" cy="2621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2C32F1-D11D-0BF0-1C06-8094CD96069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306" y="1802700"/>
            <a:ext cx="987552" cy="227584"/>
          </a:xfrm>
          <a:prstGeom prst="rect">
            <a:avLst/>
          </a:prstGeom>
        </p:spPr>
      </p:pic>
      <p:sp>
        <p:nvSpPr>
          <p:cNvPr id="10" name="Untertitel 2 2 1 2">
            <a:extLst>
              <a:ext uri="{FF2B5EF4-FFF2-40B4-BE49-F238E27FC236}">
                <a16:creationId xmlns:a16="http://schemas.microsoft.com/office/drawing/2014/main" id="{76348476-3AF8-B652-CD9F-E4762F5F85D5}"/>
              </a:ext>
            </a:extLst>
          </p:cNvPr>
          <p:cNvSpPr txBox="1">
            <a:spLocks/>
          </p:cNvSpPr>
          <p:nvPr/>
        </p:nvSpPr>
        <p:spPr>
          <a:xfrm>
            <a:off x="826821" y="2703697"/>
            <a:ext cx="942297" cy="69959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Untertitel 2 5 1 1 1 1 2">
            <a:extLst>
              <a:ext uri="{FF2B5EF4-FFF2-40B4-BE49-F238E27FC236}">
                <a16:creationId xmlns:a16="http://schemas.microsoft.com/office/drawing/2014/main" id="{BAD98159-AED6-8756-4909-1B9A5C128489}"/>
              </a:ext>
            </a:extLst>
          </p:cNvPr>
          <p:cNvSpPr txBox="1">
            <a:spLocks/>
          </p:cNvSpPr>
          <p:nvPr/>
        </p:nvSpPr>
        <p:spPr>
          <a:xfrm>
            <a:off x="1837190" y="2411146"/>
            <a:ext cx="9153898" cy="3962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.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amiltonian: </a:t>
            </a:r>
            <a:r>
              <a:rPr lang="en-US" sz="2000" noProof="0" dirty="0">
                <a:latin typeface="Bahnschrift SemiCondensed" panose="020B0502040204020203" pitchFamily="34" charset="0"/>
              </a:rPr>
              <a:t>get </a:t>
            </a:r>
            <a:r>
              <a:rPr lang="en-US" sz="2000" dirty="0">
                <a:latin typeface="Bahnschrift SemiCondensed" panose="020B0502040204020203" pitchFamily="34" charset="0"/>
              </a:rPr>
              <a:t>an </a:t>
            </a:r>
            <a:r>
              <a:rPr lang="en-US" sz="2000" noProof="0" dirty="0">
                <a:latin typeface="Bahnschrift SemiCondensed" panose="020B0502040204020203" pitchFamily="34" charset="0"/>
              </a:rPr>
              <a:t>MPO representation of the model Hamiltonian  </a:t>
            </a:r>
            <a:endParaRPr lang="en-US" sz="2000" b="1" noProof="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2. </a:t>
            </a:r>
            <a:r>
              <a:rPr lang="en-US" sz="2000" b="1" dirty="0">
                <a:latin typeface="Bahnschrift SemiCondensed" panose="020B0502040204020203" pitchFamily="34" charset="0"/>
              </a:rPr>
              <a:t>Linear high-temperature initialization:</a:t>
            </a:r>
            <a:r>
              <a:rPr lang="en-US" sz="2000" dirty="0">
                <a:latin typeface="Bahnschrift SemiCondensed" panose="020B0502040204020203" pitchFamily="34" charset="0"/>
              </a:rPr>
              <a:t> choose ‘small’      and approximate             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3. </a:t>
            </a:r>
            <a:r>
              <a:rPr lang="en-US" sz="2000" b="1" dirty="0">
                <a:latin typeface="Bahnschrift SemiCondensed" panose="020B0502040204020203" pitchFamily="34" charset="0"/>
              </a:rPr>
              <a:t>XTRG updates                : </a:t>
            </a:r>
            <a:r>
              <a:rPr lang="en-US" sz="2000" dirty="0">
                <a:latin typeface="Bahnschrift SemiCondensed" panose="020B0502040204020203" pitchFamily="34" charset="0"/>
              </a:rPr>
              <a:t>compute and truncate the MPO for</a:t>
            </a:r>
            <a:r>
              <a:rPr lang="en-US" sz="2000" b="1" dirty="0">
                <a:latin typeface="Bahnschrift SemiCondensed" panose="020B0502040204020203" pitchFamily="34" charset="0"/>
              </a:rPr>
              <a:t>               </a:t>
            </a:r>
            <a:r>
              <a:rPr lang="en-US" sz="2000" dirty="0">
                <a:latin typeface="Bahnschrift SemiCondensed" panose="020B0502040204020203" pitchFamily="34" charset="0"/>
              </a:rPr>
              <a:t>by contract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MPO for             with itself,                         . Iterate the XTRG update, while storing</a:t>
            </a: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 as well as any other data of interest (e.g. singular values at the bonds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75E91C-2302-1591-9DD6-85D4825486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168" y="2422453"/>
            <a:ext cx="213360" cy="2377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03D7E18-013B-E771-265E-4737F7B03D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412" y="2871461"/>
            <a:ext cx="227584" cy="22758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4A863D9-EC4B-E794-CBEC-C9A6BEEB27C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1879" y="2790181"/>
            <a:ext cx="1936496" cy="3088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1D69F3-327B-33B2-6C1F-A197A5BF9DA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568" y="3273352"/>
            <a:ext cx="879164" cy="24494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90BEEE7-1085-041C-3A8D-71638428119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852" y="3198289"/>
            <a:ext cx="749808" cy="2621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0036FC9-0469-1802-1CC0-EAE8DAC8E08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6368" y="3596403"/>
            <a:ext cx="648208" cy="262128"/>
          </a:xfrm>
          <a:prstGeom prst="rect">
            <a:avLst/>
          </a:prstGeom>
        </p:spPr>
      </p:pic>
      <p:pic>
        <p:nvPicPr>
          <p:cNvPr id="37" name="Picture 36" descr="A diagram of a network&#10;&#10;Description automatically generated">
            <a:extLst>
              <a:ext uri="{FF2B5EF4-FFF2-40B4-BE49-F238E27FC236}">
                <a16:creationId xmlns:a16="http://schemas.microsoft.com/office/drawing/2014/main" id="{E2DEBCF9-AECC-9FF6-F57C-6828D764CDE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31" y="3534768"/>
            <a:ext cx="1330617" cy="521081"/>
          </a:xfrm>
          <a:prstGeom prst="rect">
            <a:avLst/>
          </a:prstGeom>
        </p:spPr>
      </p:pic>
      <p:pic>
        <p:nvPicPr>
          <p:cNvPr id="43" name="Picture 42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35B25CA9-7621-9C59-D7F2-FCC2040C202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623" y="4143795"/>
            <a:ext cx="3459075" cy="91496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0DFD2DE-A3EA-8296-28C4-63ACEE96C5E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57BE2-9CFD-F687-BE4D-D4F61161830F}"/>
              </a:ext>
            </a:extLst>
          </p:cNvPr>
          <p:cNvSpPr txBox="1"/>
          <p:nvPr/>
        </p:nvSpPr>
        <p:spPr>
          <a:xfrm>
            <a:off x="4012760" y="4414401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and</a:t>
            </a:r>
            <a:endParaRPr lang="en-US" sz="2000" dirty="0"/>
          </a:p>
        </p:txBody>
      </p:sp>
      <p:pic>
        <p:nvPicPr>
          <p:cNvPr id="17" name="Picture 16" descr="\documentclass{article}&#10;\usepackage{amsmath, amsfonts, amssymb, xcolor}&#10;\pagestyle{empty}&#10;\fontfamily{BahnschriftSemiCondensed}&#10;&#10;\begin{document}&#10;&#10;$&#10;\beta = 2^n \beta_0&#10;$&#10;&#10;\end{document}" title="IguanaTex Bitmap Display">
            <a:extLst>
              <a:ext uri="{FF2B5EF4-FFF2-40B4-BE49-F238E27FC236}">
                <a16:creationId xmlns:a16="http://schemas.microsoft.com/office/drawing/2014/main" id="{167572CF-8E42-E5B7-A791-6D454585A89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302" y="4500171"/>
            <a:ext cx="987429" cy="228571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\hat{\rho}_{\text{MPO}}&#10;$&#10;&#10;\end{document}" title="IguanaTex Bitmap Display">
            <a:extLst>
              <a:ext uri="{FF2B5EF4-FFF2-40B4-BE49-F238E27FC236}">
                <a16:creationId xmlns:a16="http://schemas.microsoft.com/office/drawing/2014/main" id="{23F33203-889A-1037-5D15-8AA07C5D8F33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833" y="4486229"/>
            <a:ext cx="585143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, amsfonts, amssymb, xcolor}&#10;\pagestyle{empty}&#10;\fontfamily{BahnschriftSemiCondensed}&#10;&#10;\begin{document}&#10;&#10;$&#10;Z = \text{Tr} (e^{-\beta \hat{H}})&#10;$&#10;&#10;\end{document}" title="IguanaTex Bitmap Display">
            <a:extLst>
              <a:ext uri="{FF2B5EF4-FFF2-40B4-BE49-F238E27FC236}">
                <a16:creationId xmlns:a16="http://schemas.microsoft.com/office/drawing/2014/main" id="{81F27C7D-A6F7-09E5-D04F-F126C778C03B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04" y="4438990"/>
            <a:ext cx="1539048" cy="32457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1A8A467-9A63-332E-F5BF-9AA4E0713876}"/>
              </a:ext>
            </a:extLst>
          </p:cNvPr>
          <p:cNvSpPr txBox="1"/>
          <p:nvPr/>
        </p:nvSpPr>
        <p:spPr>
          <a:xfrm>
            <a:off x="3025331" y="4405630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,</a:t>
            </a:r>
            <a:endParaRPr lang="en-US" sz="2000" dirty="0"/>
          </a:p>
        </p:txBody>
      </p:sp>
      <p:pic>
        <p:nvPicPr>
          <p:cNvPr id="25" name="Picture 24" descr="\documentclass{article}&#10;\usepackage{amsmath, amsfonts, amssymb, xcolor}&#10;\pagestyle{empty}&#10;\fontfamily{BahnschriftSemiCondensed}&#10;&#10;\begin{document}&#10;&#10;$&#10;=&#10;$&#10;&#10;\end{document}" title="IguanaTex Bitmap Display">
            <a:extLst>
              <a:ext uri="{FF2B5EF4-FFF2-40B4-BE49-F238E27FC236}">
                <a16:creationId xmlns:a16="http://schemas.microsoft.com/office/drawing/2014/main" id="{A08535D0-AFA5-6C37-A5D6-9E6F49D86AE1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248" y="4601275"/>
            <a:ext cx="169143" cy="59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0447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10" grpId="0"/>
      <p:bldP spid="11" grpId="0"/>
      <p:bldP spid="13" grpId="0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Hamiltonian and Linear Initialization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013074" y="152387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970504" y="2426649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357442" y="3695854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346626" y="3667294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162" y="3237185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053319" y="3167379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089" y="1547688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2656303" y="4702233"/>
            <a:ext cx="8965721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approximate the (unnormalized) thermal state at high temperature,                    ,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470" y="5181393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442" y="4741178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013074" y="5734944"/>
            <a:ext cx="9959726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as an MPO with bond dimension             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216" y="5758786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372" y="5767929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7549" y="6045217"/>
            <a:ext cx="917334" cy="288000"/>
          </a:xfrm>
          <a:prstGeom prst="rect">
            <a:avLst/>
          </a:prstGeom>
        </p:spPr>
      </p:pic>
      <p:sp>
        <p:nvSpPr>
          <p:cNvPr id="10" name="Untertitel 2 3 1">
            <a:extLst>
              <a:ext uri="{FF2B5EF4-FFF2-40B4-BE49-F238E27FC236}">
                <a16:creationId xmlns:a16="http://schemas.microsoft.com/office/drawing/2014/main" id="{2E2D3C03-66F1-96E4-2D79-1FEDF8AC4E88}"/>
              </a:ext>
            </a:extLst>
          </p:cNvPr>
          <p:cNvSpPr txBox="1">
            <a:spLocks/>
          </p:cNvSpPr>
          <p:nvPr/>
        </p:nvSpPr>
        <p:spPr>
          <a:xfrm>
            <a:off x="970502" y="4752739"/>
            <a:ext cx="1680421" cy="1186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5B5181-7210-23E1-30DC-BA95D591A7D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2" name="Picture 21" descr="A diagram of a diagram&#10;&#10;AI-generated content may be incorrect.">
            <a:extLst>
              <a:ext uri="{FF2B5EF4-FFF2-40B4-BE49-F238E27FC236}">
                <a16:creationId xmlns:a16="http://schemas.microsoft.com/office/drawing/2014/main" id="{A36554D7-FE3F-790B-40F9-27869A984D5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962" y="2171602"/>
            <a:ext cx="3334482" cy="978381"/>
          </a:xfrm>
          <a:prstGeom prst="rect">
            <a:avLst/>
          </a:prstGeom>
        </p:spPr>
      </p:pic>
      <p:pic>
        <p:nvPicPr>
          <p:cNvPr id="26" name="Picture 25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623D7270-08C0-0744-B017-1FC67853EBF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7457" y="3017107"/>
            <a:ext cx="110010" cy="160890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7A1159E2-9700-6338-3DA4-E399E24585C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500" y="2426649"/>
            <a:ext cx="148657" cy="131236"/>
          </a:xfrm>
          <a:prstGeom prst="rect">
            <a:avLst/>
          </a:prstGeom>
        </p:spPr>
      </p:pic>
      <p:pic>
        <p:nvPicPr>
          <p:cNvPr id="32" name="Picture 31" descr="\documentclass{article}&#10;\usepackage{amsmath, amsfonts, amssymb, xcolor}&#10;\pagestyle{empty}&#10;\fontfamily{BahnschriftSemiCondensed}&#10;&#10;\begin{document}&#10;&#10;$&#10;D = 5&#10;$&#10;&#10;\end{document}" title="IguanaTex Bitmap Display">
            <a:extLst>
              <a:ext uri="{FF2B5EF4-FFF2-40B4-BE49-F238E27FC236}">
                <a16:creationId xmlns:a16="http://schemas.microsoft.com/office/drawing/2014/main" id="{8CBA8570-468E-8E3D-C232-D29D7A74E1D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6227" y="6100074"/>
            <a:ext cx="659809" cy="17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9" grpId="0"/>
      <p:bldP spid="30" grpId="0"/>
      <p:bldP spid="3" grpId="0"/>
      <p:bldP spid="7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686"/>
  <p:tag name="OUTPUTTYPE" val="PNG"/>
  <p:tag name="IGUANATEXVERSION" val="162"/>
  <p:tag name="LATEXADDIN" val="\documentclass{article}&#10;\usepackage{amsmath}&#10;\pagestyle{empty}&#10;\begin{document}&#10;&#10;$W_1, ..., W_{L-1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12.823"/>
  <p:tag name="OUTPUTTYPE" val="PNG"/>
  <p:tag name="IGUANATEXVERSION" val="162"/>
  <p:tag name="LATEXADDIN" val="\documentclass{article}&#10;\usepackage{amsmath}&#10;\pagestyle{empty}&#10;\begin{document}&#10;&#10;$\text{e}^{- \beta \hat{H}} \rightarrow \text{e}^{- 2 \beta \hat{H}} = (\text{e}^{- \beta \hat{H}})^2$&#10;&#10;&#10;\end{document}"/>
  <p:tag name="IGUANATEXSIZE" val="20"/>
  <p:tag name="IGUANATEXCURSOR" val="153"/>
  <p:tag name="TRANSPARENCY" val="True"/>
  <p:tag name="CHOOSECOLOR" val="False"/>
  <p:tag name="COLORHEX" val="000000"/>
  <p:tag name="LATEXENGINEID" val="0"/>
  <p:tag name="TEMPFOLDER" val="c:\temp\"/>
  <p:tag name="LATEXFORMHEIGHT" val=" 426.65"/>
  <p:tag name="LATEXFORMWIDTH" val=" 513.35"/>
  <p:tag name="LATEXFORMWRAP" val="True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.7364"/>
  <p:tag name="ORIGINALWIDTH" val=" 342.707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415.448"/>
  <p:tag name="OUTPUTTYPE" val="PNG"/>
  <p:tag name="IGUANATEXVERSION" val="162"/>
  <p:tag name="LATEXADDIN" val="\documentclass{article}&#10;\usepackage{amsmath}&#10;\pagestyle{empty}&#10;\begin{document}&#10;&#10;&#10;$C_l, C_{l + 1&#10;}$&#10;&#10;\end{document}"/>
  <p:tag name="IGUANATEXSIZE" val="20"/>
  <p:tag name="IGUANATEXCURSOR" val="9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1042.37"/>
  <p:tag name="OUTPUTTYPE" val="PNG"/>
  <p:tag name="IGUANATEXVERSION" val="162"/>
  <p:tag name="LATEXADDIN" val="\documentclass{article}&#10;\usepackage{amsmath}&#10;\pagestyle{empty}&#10;\begin{document}&#10;&#10;&#10;$|| \hat{O} ||_F = \sqrt{\text{Tr}[\hat{O} \hat{O}^\dagger]}$&#10;&#10;\end{document}"/>
  <p:tag name="IGUANATEXSIZE" val="20"/>
  <p:tag name="IGUANATEXCURSOR" val="14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.7349"/>
  <p:tag name="ORIGINALWIDTH" val=" 86.23921"/>
  <p:tag name="OUTPUTTYPE" val="PNG"/>
  <p:tag name="IGUANATEXVERSION" val="162"/>
  <p:tag name="LATEXADDIN" val="\documentclass{article}&#10;\usepackage{amsmath}&#10;\pagestyle{empty}&#10;\begin{document}&#10;&#10;&#10;$\hat{O}&#10;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725.1594"/>
  <p:tag name="OUTPUTTYPE" val="PNG"/>
  <p:tag name="IGUANATEXVERSION" val="162"/>
  <p:tag name="LATEXADDIN" val="\documentclass{article}&#10;\usepackage{amsmath}&#10;\pagestyle{empty}&#10;\begin{document}&#10;&#10;&#10;$Z = \text{Tr} [ \text{e}^{-\beta \hat{H}} ] &#10;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&#10;$\text{e}^{-\beta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0.7274"/>
  <p:tag name="ORIGINALWIDTH" val=" 553.4308"/>
  <p:tag name="OUTPUTTYPE" val="PNG"/>
  <p:tag name="IGUANATEXVERSION" val="162"/>
  <p:tag name="LATEXADDIN" val="\documentclass{article}&#10;\usepackage{amsmath}&#10;\pagestyle{empty}&#10;\begin{document}&#10;&#10;$\beta, Z, \text{e}^{- \beta \hat{H}}_{\text{MPO}}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77.99023"/>
  <p:tag name="OUTPUTTYPE" val="PNG"/>
  <p:tag name="IGUANATEXVERSION" val="162"/>
  <p:tag name="LATEXADDIN" val="\documentclass{article}&#10;\usepackage{amsmath}&#10;\pagestyle{empty}&#10;\begin{document}&#10;&#10;&#10;$\mathcal{L}&#10;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.7297"/>
  <p:tag name="ORIGINALWIDTH" val=" 2305.962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/>
  <p:tag name="IGUANATEXSIZE" val="20"/>
  <p:tag name="IGUANATEXCURSOR" val="305"/>
  <p:tag name="TRANSPARENCY" val="True"/>
  <p:tag name="CHOOSECOLOR" val="False"/>
  <p:tag name="COLORHEX" val="000000"/>
  <p:tag name="LATEXENGINEID" val="0"/>
  <p:tag name="TEMPFOLDER" val="c:\temp\"/>
  <p:tag name="LATEXFORMHEIGHT" val=" 312"/>
  <p:tag name="LATEXFORMWIDTH" val=" 384"/>
  <p:tag name="LATEXFORMWRAP" val="True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911.886"/>
  <p:tag name="OUTPUTTYPE" val="PNG"/>
  <p:tag name="IGUANATEXVERSION" val="162"/>
  <p:tag name="LATEXADDIN" val="\documentclass{article}&#10;\usepackage{amsmath}&#10;\pagestyle{empty}&#10;\begin{document}&#10;&#10;$&#10;\epsilon_k = J \cos\left( \frac{k \pi}{L + 1} \right)&#10;$&#10;&#10;\end{document}"/>
  <p:tag name="IGUANATEXSIZE" val="20"/>
  <p:tag name="IGUANATEXCURSOR" val="12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2521.185"/>
  <p:tag name="OUTPUTTYPE" val="PNG"/>
  <p:tag name="IGUANATEXVERSION" val="162"/>
  <p:tag name="LATEXADDIN" val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/>
  <p:tag name="IGUANATEXSIZE" val="20"/>
  <p:tag name="IGUANATEXCURSOR" val="21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368.2039"/>
  <p:tag name="OUTPUTTYPE" val="PNG"/>
  <p:tag name="IGUANATEXVERSION" val="162"/>
  <p:tag name="LATEXADDIN" val="\documentclass{article}&#10;\usepackage{amsmath}&#10;\pagestyle{empty}&#10;\begin{document}&#10;&#10;$\mathcal{L} = 10$&#10;&#10;&#10;\end{document}"/>
  <p:tag name="IGUANATEXSIZE" val="20"/>
  <p:tag name="IGUANATEXCURSOR" val="9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&#10;\end{document}"/>
  <p:tag name="IGUANATEXSIZE" val="20"/>
  <p:tag name="IGUANATEXCURSOR" val="9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832.3959"/>
  <p:tag name="OUTPUTTYPE" val="PNG"/>
  <p:tag name="IGUANATEXVERSION" val="162"/>
  <p:tag name="LATEXADDIN" val="\documentclass{article}&#10;\usepackage{amsmath}&#10;\pagestyle{empty}&#10;\begin{document}&#10;&#10;&#10;$\frac{D_n}{D_{n - 1}} \leq \alpha = 1.5$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.237"/>
  <p:tag name="ORIGINALWIDTH" val=" 909.6363"/>
  <p:tag name="OUTPUTTYPE" val="PNG"/>
  <p:tag name="IGUANATEXVERSION" val="162"/>
  <p:tag name="LATEXADDIN" val="\documentclass{article}&#10;\usepackage{amsmath}&#10;\pagestyle{empty}&#10;\begin{document}&#10;&#10;&#10;$D_n \leq D_{\text{max}} =75$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34.2332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^2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1.73976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$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.7368"/>
  <p:tag name="ORIGINALWIDTH" val=" 236.9704"/>
  <p:tag name="OUTPUTTYPE" val="PNG"/>
  <p:tag name="IGUANATEXVERSION" val="162"/>
  <p:tag name="LATEXADDIN" val="\documentclass{article}&#10;\usepackage{amsmath}&#10;\pagestyle{empty}&#10;\begin{document}&#10;&#10;&#10;$10^{-8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.7349"/>
  <p:tag name="ORIGINALWIDTH" val="829.3963"/>
  <p:tag name="LATEXADDIN" val="\documentclass{article}&#10;\usepackage{amsmath, amsfonts, amssymb, xcolor}&#10;\pagestyle{empty}&#10;\fontfamily{BahnschriftSemiCondensed}&#10;&#10;\begin{document}&#10;&#10;$&#10;N_{\text{sweeps}} = 2 \times 5&#10;$&#10;&#10;\end{document}"/>
  <p:tag name="IGUANATEXSIZE" val="20"/>
  <p:tag name="IGUANATEXCURSOR" val="17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.2339"/>
  <p:tag name="ORIGINALWIDTH" val="881.8898"/>
  <p:tag name="LATEXADDIN" val="\documentclass{article}&#10;\usepackage{amsmath, amsfonts, amssymb, xcolor}&#10;\pagestyle{empty}&#10;\fontfamily{BahnschriftSemiCondensed}&#10;&#10;\begin{document}&#10;&#10;$&#10;\beta = 2^{27} \beta_0 \approx 130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79"/>
  <p:tag name="ORIGINALWIDTH" val=" 342"/>
  <p:tag name="OUTPUTTYPE" val="PNG"/>
  <p:tag name="IGUANATEXVERSION" val="162"/>
  <p:tag name="LATEXADDIN" val="\documentclass{article}&#10;\usepackage{amsmath}&#10;\pagestyle{empty}&#10;\begin{document}&#10;&#10;&#10;square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.9865"/>
  <p:tag name="ORIGINALWIDTH" val="368.9539"/>
  <p:tag name="LATEXADDIN" val="\documentclass{article}&#10;\usepackage{amsmath, amsfonts, amssymb, xcolor}&#10;\pagestyle{empty}&#10;\fontfamily{BahnschriftSemiCondensed}&#10;&#10;\begin{document}&#10;&#10;$&#10;&lt;10^{-8}&#10;$&#10;&#10;\end{document}"/>
  <p:tag name="IGUANATEXSIZE" val="20"/>
  <p:tag name="IGUANATEXCURSOR" val="156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359.955"/>
  <p:tag name="OUTPUTTYPE" val="PNG"/>
  <p:tag name="IGUANATEXVERSION" val="162"/>
  <p:tag name="LATEXADDIN" val="\documentclass{article}&#10;\usepackage{amsmath}&#10;\pagestyle{empty}&#10;\begin{document}&#10;&#10;&#10;$C_l C_{l + 1&#10;}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487.4391"/>
  <p:tag name="LATEXADDIN" val="\documentclass{article}&#10;\usepackage{amsmath, amsfonts, amssymb, xcolor}&#10;\pagestyle{empty}&#10;\fontfamily{BahnschriftSemiCondensed}&#10;&#10;\begin{document}&#10;&#10;$&#10;\{C_l C_{l+1}\}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4.2294"/>
  <p:tag name="ORIGINALWIDTH" val=" 3612.299"/>
  <p:tag name="OUTPUTTYPE" val="PNG"/>
  <p:tag name="IGUANATEXVERSION" val="162"/>
  <p:tag name="LATEXADDIN" val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/>
  <p:tag name="IGUANATEXSIZE" val="20"/>
  <p:tag name="IGUANATEXCURSOR" val="2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429"/>
  <p:tag name="OUTPUTTYPE" val="PNG"/>
  <p:tag name="IGUANATEXVERSION" val="162"/>
  <p:tag name="LATEXADDIN" val="\documentclass{article}&#10;\usepackage{amsmath}&#10;\pagestyle{empty}&#10;\begin{document}&#10;&#10;$\text{e}^{- 2^n \beta_0 \hat{H}}$&#10;&#10;&#10;\end{document}"/>
  <p:tag name="IGUANATEXSIZE" val="20"/>
  <p:tag name="IGUANATEXCURSOR" val="10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401.9498"/>
  <p:tag name="OUTPUTTYPE" val="PNG"/>
  <p:tag name="IGUANATEXVERSION" val="162"/>
  <p:tag name="LATEXADDIN" val="\documentclass{article}&#10;\usepackage{amsmath}&#10;\pagestyle{empty}&#10;\begin{document}&#10;&#10;&#10;$\beta \rightarrow 2\beta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754"/>
  <p:tag name="OUTPUTTYPE" val="PNG"/>
  <p:tag name="IGUANATEXVERSION" val="162"/>
  <p:tag name="LATEXADDIN" val="\documentclass{article}&#10;\usepackage{amsmath}&#10;\pagestyle{empty}&#10;\begin{document}&#10;&#10;&#10;$Z = \text{Tr} ( \text{e}^{-\beta \hat{H}} )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333"/>
  <p:tag name="OUTPUTTYPE" val="PNG"/>
  <p:tag name="IGUANATEXVERSION" val="162"/>
  <p:tag name="LATEXADDIN" val="\documentclass{article}&#10;\usepackage{amsmath}&#10;\pagestyle{empty}&#10;\begin{document}&#10;&#10;&#10;$\beta = \beta_0, 2 \beta_0, \ldots, 2^n \beta_0, \ldots$&#10;&#10;\end{document}"/>
  <p:tag name="IGUANATEXSIZE" val="20"/>
  <p:tag name="IGUANATEXCURSOR" val="13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3686.539"/>
  <p:tag name="LATEXADDIN" val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2"/>
  <p:tag name="ORIGINALWIDTH" val=" 146"/>
  <p:tag name="OUTPUTTYPE" val="PNG"/>
  <p:tag name="IGUANATEXVERSION" val="162"/>
  <p:tag name="LATEXADDIN" val="\documentclass{article}&#10;\usepackage{amsmath}&#10;\pagestyle{empty}&#10;\begin{document}&#10;&#10;&#10;$D^2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 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340"/>
  <p:tag name="OUTPUTTYPE" val="PNG"/>
  <p:tag name="IGUANATEXVERSION" val="162"/>
  <p:tag name="LATEXADDIN" val="\documentclass{article}&#10;\usepackage{amsmath}&#10;\pagestyle{empty}&#10;\begin{document}&#10;&#10;$ D \sim \beta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01.9498"/>
  <p:tag name="LATEXADDIN" val="\documentclass{article}&#10;\usepackage{amsmath, amsfonts, amssymb, xcolor}&#10;\pagestyle{empty}&#10;\fontfamily{BahnschriftSemiCondensed}&#10;&#10;\begin{document}&#10;&#10;$&#10;\beta \rightarrow 2\beta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275.2156"/>
  <p:tag name="LATEXADDIN" val="\documentclass{article}&#10;\usepackage{amsmath, amsfonts, amssymb, xcolor}&#10;\pagestyle{empty}&#10;\fontfamily{BahnschriftSemiCondensed}&#10;&#10;\begin{document}&#10;&#10;$&#10;e^{-\beta\hat{H}}&#10;$&#10;&#10;\end{document}"/>
  <p:tag name="IGUANATEXSIZE" val="20"/>
  <p:tag name="IGUANATEXCURSOR" val="166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24331"/>
  <p:tag name="ORIGINALWIDTH" val="83.23961"/>
  <p:tag name="LATEXADDIN" val="\documentclass{article}&#10;\usepackage{amsmath, amsfonts, amssymb, xcolor}&#10;\pagestyle{empty}&#10;\fontfamily{BahnschriftSemiCondensed}&#10;&#10;\begin{document}&#10;&#10;$&#10;\simeq&#10;$&#10;&#10;\end{document}"/>
  <p:tag name="IGUANATEXSIZE" val="20"/>
  <p:tag name="IGUANATEXCURSOR" val="155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325.4593"/>
  <p:tag name="LATEXADDIN" val="\documentclass{article}&#10;\usepackage{amsmath, amsfonts, amssymb, xcolor}&#10;\pagestyle{empty}&#10;\fontfamily{BahnschriftSemiCondensed}&#10;&#10;\begin{document}&#10;&#10;$&#10;e^{-2\beta\hat{H}}&#10;$&#10;&#10;\end{document}"/>
  <p:tag name="IGUANATEXSIZE" val="20"/>
  <p:tag name="IGUANATEXCURSOR" val="165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71.916"/>
  <p:tag name="LATEXADDIN" val="\documentclass{article}&#10;\usepackage{amsmath, amsfonts, amssymb, xcolor}&#10;\pagestyle{empty}&#10;\fontfamily{BahnschriftSemiCondensed}&#10;&#10;\begin{document}&#10;&#10;$&#10;S_E \propto \log(D)&#10;$&#10;&#10;\end{document}"/>
  <p:tag name="IGUANATEXSIZE" val="20"/>
  <p:tag name="IGUANATEXCURSOR" val="16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105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12"/>
  <p:tag name="OUTPUTTYPE" val="PNG"/>
  <p:tag name="IGUANATEXVERSION" val="162"/>
  <p:tag name="LATEXADDIN" val="\documentclass{article}&#10;\usepackage{amsmath}&#10;\pagestyle{empty}&#10;\begin{document}&#10;&#10;$\beta_0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"/>
  <p:tag name="ORIGINALWIDTH" val=" 953"/>
  <p:tag name="OUTPUTTYPE" val="PNG"/>
  <p:tag name="IGUANATEXVERSION" val="162"/>
  <p:tag name="LATEXADDIN" val="\documentclass{article}&#10;\usepackage{amsmath}&#10;\usepackage{bbold}&#10;\pagestyle{empty}&#10;\begin{document}&#10;&#10;$\text{e}^{-\beta_0 \hat{H}} \approx \hat{\mathbb{1}} - \beta_0 \hat{H}$&#10;&#10;&#10;\end{document}"/>
  <p:tag name="IGUANATEXSIZE" val="20"/>
  <p:tag name="IGUANATEXCURSOR" val="14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69"/>
  <p:tag name="OUTPUTTYPE" val="PNG"/>
  <p:tag name="IGUANATEXVERSION" val="162"/>
  <p:tag name="LATEXADDIN" val="\documentclass{article}&#10;\usepackage{amsmath}&#10;\pagestyle{empty}&#10;\begin{document}&#10;&#10;$\text{e}^{- 2 \beta_0 \hat{H}}$&#10;&#10;&#10;\end{document}"/>
  <p:tag name="IGUANATEXSIZE" val="20"/>
  <p:tag name="IGUANATEXCURSOR" val="10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19"/>
  <p:tag name="OUTPUTTYPE" val="PNG"/>
  <p:tag name="IGUANATEXVERSION" val="162"/>
  <p:tag name="LATEXADDIN" val="\documentclass{article}&#10;\usepackage{amsmath}&#10;\pagestyle{empty}&#10;\begin{document}&#10;&#10;$\text{e}^{-  \beta_0 \hat{H}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85.9393"/>
  <p:tag name="LATEXADDIN" val="\documentclass{article}&#10;\usepackage{amsmath, amsfonts, amssymb, xcolor}&#10;\pagestyle{empty}&#10;\fontfamily{BahnschriftSemiCondensed}&#10;&#10;\begin{document}&#10;&#10;$&#10;\beta = 2^n \beta_0&#10;$&#10;&#10;\end{document}"/>
  <p:tag name="IGUANATEXSIZE" val="20"/>
  <p:tag name="IGUANATEXCURSOR" val="168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.2358"/>
  <p:tag name="ORIGINALWIDTH" val="287.964"/>
  <p:tag name="LATEXADDIN" val="\documentclass{article}&#10;\usepackage{amsmath, amsfonts, amssymb, xcolor}&#10;\pagestyle{empty}&#10;\fontfamily{BahnschriftSemiCondensed}&#10;&#10;\begin{document}&#10;&#10;$&#10;\hat{\rho}_{\text{MPO}}&#10;$&#10;&#10;\end{document}"/>
  <p:tag name="IGUANATEXSIZE" val="20"/>
  <p:tag name="IGUANATEXCURSOR" val="17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757.4053"/>
  <p:tag name="LATEXADDIN" val="\documentclass{article}&#10;\usepackage{amsmath, amsfonts, amssymb, xcolor}&#10;\pagestyle{empty}&#10;\fontfamily{BahnschriftSemiCondensed}&#10;&#10;\begin{document}&#10;&#10;$&#10;Z = \text{Tr} (e^{-\beta \hat{H}})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.24638"/>
  <p:tag name="ORIGINALWIDTH" val="83.23961"/>
  <p:tag name="LATEXADDIN" val="\documentclass{article}&#10;\usepackage{amsmath, amsfonts, amssymb, xcolor}&#10;\pagestyle{empty}&#10;\fontfamily{BahnschriftSemiCondensed}&#10;&#10;\begin{document}&#10;&#10;$&#10;=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287"/>
  <p:tag name="OUTPUTTYPE" val="PNG"/>
  <p:tag name="IGUANATEXVERSION" val="162"/>
  <p:tag name="LATEXADDIN" val="\documentclass{article}&#10;\usepackage{amsmath}&#10;\pagestyle{empty}&#10;\begin{document}&#10;&#10;$\frac{\beta_{\text{target}}}{\beta_0}$&#10;&#10;&#10;\end{document}"/>
  <p:tag name="IGUANATEXSIZE" val="20"/>
  <p:tag name="IGUANATEXCURSOR" val="11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59.99252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.73937"/>
  <p:tag name="ORIGINALWIDTH" val="95.98803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324.7094"/>
  <p:tag name="LATEXADDIN" val="\documentclass{article}&#10;\usepackage{amsmath, amsfonts, amssymb, xcolor}&#10;\pagestyle{empty}&#10;\fontfamily{BahnschriftSemiCondensed}&#10;&#10;\begin{document}&#10;&#10;$&#10;D = 5&#10;$&#10;&#10;\end{document}"/>
  <p:tag name="IGUANATEXSIZE" val="20"/>
  <p:tag name="IGUANATEXCURSOR" val="15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513"/>
  <p:tag name="OUTPUTTYPE" val="PNG"/>
  <p:tag name="IGUANATEXVERSION" val="162"/>
  <p:tag name="LATEXADDIN" val="\documentclass{article}&#10;\usepackage{amsmath}&#10;\pagestyle{empty}&#10;\begin{document}&#10;&#10;$\text{e}^{-\beta \hat{H}} \longrightarrow $&#10;&#10;&#10;\end{document}"/>
  <p:tag name="IGUANATEXSIZE" val="20"/>
  <p:tag name="IGUANATEXCURSOR" val="12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  $&#10;&#10;&#10;\end{document}"/>
  <p:tag name="IGUANATEXSIZE" val="20"/>
  <p:tag name="IGUANATEXCURSOR" val="11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3"/>
  <p:tag name="ORIGINALWIDTH" val=" 83"/>
  <p:tag name="OUTPUTTYPE" val="PNG"/>
  <p:tag name="IGUANATEXVERSION" val="162"/>
  <p:tag name="LATEXADDIN" val="\documentclass{article}&#10;\usepackage{amsmath}&#10;\pagestyle{empty}&#10;\begin{document}&#10;&#10;&#10;$\approx$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614"/>
  <p:tag name="OUTPUTTYPE" val="PNG"/>
  <p:tag name="IGUANATEXVERSION" val="162"/>
  <p:tag name="LATEXADDIN" val="\documentclass{article}&#10;\usepackage{amsmath}&#10;\pagestyle{empty}&#10;\begin{document}&#10;&#10;$\log_2 ( \frac{\beta_{\text{target}}}{\beta_0} ) 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3"/>
  <p:tag name="ORIGINALWIDTH" val=" 474"/>
  <p:tag name="OUTPUTTYPE" val="PNG"/>
  <p:tag name="IGUANATEXVERSION" val="162"/>
  <p:tag name="LATEXADDIN" val="\documentclass{article}&#10;\usepackage{amsmath}&#10;\pagestyle{empty}&#10;\begin{document}&#10;&#10;$D = D_0^{2^n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"/>
  <p:tag name="ORIGINALWIDTH" val=" 376"/>
  <p:tag name="OUTPUTTYPE" val="PNG"/>
  <p:tag name="IGUANATEXVERSION" val="162"/>
  <p:tag name="LATEXADDIN" val="\documentclass{article}&#10;\usepackage{amsmath}&#10;\pagestyle{empty}&#10;\begin{document}&#10;&#10;$D_0 = 5 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196"/>
  <p:tag name="OUTPUTTYPE" val="PNG"/>
  <p:tag name="IGUANATEXVERSION" val="162"/>
  <p:tag name="LATEXADDIN" val="\documentclass{article}&#10;\usepackage{amsmath}&#10;\pagestyle{empty}&#10;\begin{document}&#10;&#10;&#10;$n = $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798"/>
  <p:tag name="OUTPUTTYPE" val="PNG"/>
  <p:tag name="IGUANATEXVERSION" val="162"/>
  <p:tag name="LATEXADDIN" val="\documentclass{article}&#10;\usepackage{amsmath}&#10;\pagestyle{empty}&#10;\begin{document}&#10;&#10;&#10;$D \sim \beta\ = \beta_0 2^n$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6"/>
  <p:tag name="ORIGINALWIDTH" val=" 405"/>
  <p:tag name="OUTPUTTYPE" val="PNG"/>
  <p:tag name="IGUANATEXVERSION" val="162"/>
  <p:tag name="LATEXADDIN" val="\documentclass{article}&#10;\usepackage{amsmath}&#10;\pagestyle{empty}&#10;\begin{document}&#10;&#10;$D \sim \alpha^{n}$&#10;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272"/>
  <p:tag name="OUTPUTTYPE" val="PNG"/>
  <p:tag name="IGUANATEXVERSION" val="162"/>
  <p:tag name="LATEXADDIN" val="\documentclass{article}&#10;\usepackage{amsmath}&#10;\pagestyle{empty}&#10;\begin{document}&#10;&#10;$&lt; D^2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"/>
  <p:tag name="ORIGINALWIDTH" val=" 564"/>
  <p:tag name="OUTPUTTYPE" val="PNG"/>
  <p:tag name="IGUANATEXVERSION" val="162"/>
  <p:tag name="LATEXADDIN" val="\documentclass{article}&#10;\usepackage{amsmath}&#10;\pagestyle{empty}&#10;\begin{document}&#10;&#10;$D &lt; D_{max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08"/>
  <p:tag name="OUTPUTTYPE" val="PNG"/>
  <p:tag name="IGUANATEXVERSION" val="162"/>
  <p:tag name="LATEXADDIN" val="\documentclass{article}&#10;\usepackage{amsmath}&#10;\pagestyle{empty}&#10;\begin{document}&#10;&#10;&#10;$(C_l, C_{l+ 1})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l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634"/>
  <p:tag name="OUTPUTTYPE" val="PNG"/>
  <p:tag name="IGUANATEXVERSION" val="162"/>
  <p:tag name="LATEXADDIN" val="\documentclass{article}&#10;\usepackage{amsmath}&#10;\pagestyle{empty}&#10;\begin{document}&#10;&#10;&#10;$(C_{l + 1}, C_{l+ 2})$&#10;&#10;\end{document}"/>
  <p:tag name="IGUANATEXSIZE" val="20"/>
  <p:tag name="IGUANATEXCURSOR" val="10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"/>
  <p:tag name="ORIGINALWIDTH" val=" 1230"/>
  <p:tag name="OUTPUTTYPE" val="PNG"/>
  <p:tag name="IGUANATEXVERSION" val="162"/>
  <p:tag name="LATEXADDIN" val="\documentclass{article}&#10;\usepackage{amsmath}&#10;\pagestyle{empty}&#10;\begin{document}&#10;&#10;&#10;$\rightarrow \frac{\partial || \hat{C} - \text{e}^{-2 \beta \hat{H}} ||^2}{\partial(C_l C_{l+1})} = 0 \rightarrow $&#10;&#10;\end{document}"/>
  <p:tag name="IGUANATEXSIZE" val="20"/>
  <p:tag name="IGUANATEXCURSOR" val="1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360"/>
  <p:tag name="OUTPUTTYPE" val="PNG"/>
  <p:tag name="IGUANATEXVERSION" val="162"/>
  <p:tag name="LATEXADDIN" val="\documentclass{article}&#10;\usepackage{amsmath}&#10;\pagestyle{empty}&#10;\begin{document}&#10;&#10;&#10;$C_l C_{l+ 1} 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34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499"/>
  <p:tag name="OUTPUTTYPE" val="PNG"/>
  <p:tag name="IGUANATEXVERSION" val="162"/>
  <p:tag name="LATEXADDIN" val="\documentclass{article}&#10;\usepackage{amsmath}&#10;\pagestyle{empty}&#10;\begin{document}&#10;&#10;&#10;$C_l C_{l + 1} = 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{l }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234"/>
  <p:tag name="OUTPUTTYPE" val="PNG"/>
  <p:tag name="IGUANATEXVERSION" val="162"/>
  <p:tag name="LATEXADDIN" val="\documentclass{article}&#10;\usepackage{amsmath}&#10;\pagestyle{empty}&#10;\begin{document}&#10;&#10;&#10;$C_{l -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5"/>
  <p:tag name="OUTPUTTYPE" val="PNG"/>
  <p:tag name="IGUANATEXVERSION" val="162"/>
  <p:tag name="LATEXADDIN" val="\documentclass{article}&#10;\usepackage{amsmath}&#10;\pagestyle{empty}&#10;\begin{document}&#10;&#10;&#10;$C_{l + 2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1264.342"/>
  <p:tag name="LATEXADDIN" val="\documentclass{article}&#10;\usepackage{amsmath, amsfonts, amssymb, xcolor}&#10;\pagestyle{empty}&#10;\fontfamily{BahnschriftSemiCondensed}&#10;&#10;\begin{document}&#10;&#10;$&#10;=\min\{D_{n-1} \cdot \alpha, D_{\max}\}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77</Words>
  <Application>Microsoft Office PowerPoint</Application>
  <PresentationFormat>Widescreen</PresentationFormat>
  <Paragraphs>304</Paragraphs>
  <Slides>28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ptos</vt:lpstr>
      <vt:lpstr>Aptos Display</vt:lpstr>
      <vt:lpstr>Arial</vt:lpstr>
      <vt:lpstr>Bahnschrift SemiCondensed</vt:lpstr>
      <vt:lpstr>Wingdings</vt:lpstr>
      <vt:lpstr>Office Theme</vt:lpstr>
      <vt:lpstr>think-cell Slide</vt:lpstr>
      <vt:lpstr>The Exponential Tensor Network Renormalization Group (XTRG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iverti-Piuri, Damiano</dc:creator>
  <cp:lastModifiedBy>Matthias Pawlik</cp:lastModifiedBy>
  <cp:revision>72</cp:revision>
  <dcterms:created xsi:type="dcterms:W3CDTF">2025-07-18T13:05:37Z</dcterms:created>
  <dcterms:modified xsi:type="dcterms:W3CDTF">2025-07-21T13:06:13Z</dcterms:modified>
</cp:coreProperties>
</file>